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sldIdLst>
    <p:sldId id="259" r:id="rId2"/>
    <p:sldId id="272" r:id="rId3"/>
    <p:sldId id="271" r:id="rId4"/>
    <p:sldId id="273" r:id="rId5"/>
    <p:sldId id="287" r:id="rId6"/>
    <p:sldId id="288" r:id="rId7"/>
    <p:sldId id="291" r:id="rId8"/>
    <p:sldId id="303" r:id="rId9"/>
    <p:sldId id="294" r:id="rId10"/>
    <p:sldId id="295" r:id="rId11"/>
    <p:sldId id="296" r:id="rId12"/>
    <p:sldId id="297" r:id="rId13"/>
    <p:sldId id="292" r:id="rId14"/>
    <p:sldId id="293" r:id="rId15"/>
    <p:sldId id="281" r:id="rId16"/>
    <p:sldId id="282" r:id="rId17"/>
    <p:sldId id="283" r:id="rId18"/>
    <p:sldId id="280" r:id="rId19"/>
    <p:sldId id="278" r:id="rId20"/>
    <p:sldId id="290" r:id="rId21"/>
    <p:sldId id="289" r:id="rId22"/>
    <p:sldId id="298" r:id="rId23"/>
    <p:sldId id="299" r:id="rId24"/>
    <p:sldId id="300" r:id="rId25"/>
    <p:sldId id="301" r:id="rId26"/>
    <p:sldId id="302" r:id="rId27"/>
    <p:sldId id="263" r:id="rId28"/>
    <p:sldId id="264" r:id="rId29"/>
    <p:sldId id="267" r:id="rId30"/>
    <p:sldId id="265" r:id="rId31"/>
    <p:sldId id="258" r:id="rId32"/>
    <p:sldId id="285"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02D656F-A498-4E5B-A0E4-C967429139C1}">
          <p14:sldIdLst>
            <p14:sldId id="259"/>
            <p14:sldId id="272"/>
            <p14:sldId id="271"/>
            <p14:sldId id="273"/>
            <p14:sldId id="287"/>
            <p14:sldId id="288"/>
            <p14:sldId id="291"/>
            <p14:sldId id="303"/>
            <p14:sldId id="294"/>
            <p14:sldId id="295"/>
            <p14:sldId id="296"/>
            <p14:sldId id="297"/>
            <p14:sldId id="292"/>
            <p14:sldId id="293"/>
            <p14:sldId id="281"/>
            <p14:sldId id="282"/>
            <p14:sldId id="283"/>
            <p14:sldId id="280"/>
            <p14:sldId id="278"/>
            <p14:sldId id="290"/>
            <p14:sldId id="289"/>
            <p14:sldId id="298"/>
            <p14:sldId id="299"/>
            <p14:sldId id="300"/>
            <p14:sldId id="301"/>
            <p14:sldId id="302"/>
          </p14:sldIdLst>
        </p14:section>
        <p14:section name="Azure" id="{57D65B03-B806-42D9-93D5-F9353C11E765}">
          <p14:sldIdLst/>
        </p14:section>
        <p14:section name="If Time - TIPS" id="{C97FAD3E-85A0-4B77-9FAE-3F7216B36EDB}">
          <p14:sldIdLst>
            <p14:sldId id="263"/>
            <p14:sldId id="264"/>
          </p14:sldIdLst>
        </p14:section>
        <p14:section name="Wrap" id="{1E290841-B188-4842-B4AC-CC525E8F2BE8}">
          <p14:sldIdLst>
            <p14:sldId id="267"/>
            <p14:sldId id="265"/>
            <p14:sldId id="258"/>
            <p14:sldId id="28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2626" autoAdjust="0"/>
  </p:normalViewPr>
  <p:slideViewPr>
    <p:cSldViewPr snapToGrid="0">
      <p:cViewPr varScale="1">
        <p:scale>
          <a:sx n="100" d="100"/>
          <a:sy n="100" d="100"/>
        </p:scale>
        <p:origin x="473"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E81277-C995-4559-9C7C-B76474E6D488}"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EA2EDCA3-422C-4955-A76F-9674508B325C}">
      <dgm:prSet phldrT="[Text]" custT="1"/>
      <dgm:spPr/>
      <dgm:t>
        <a:bodyPr/>
        <a:lstStyle/>
        <a:p>
          <a:r>
            <a:rPr lang="en-US" sz="2400" b="1" dirty="0"/>
            <a:t>Recognize Accomplishments</a:t>
          </a:r>
        </a:p>
      </dgm:t>
    </dgm:pt>
    <dgm:pt modelId="{45A3CEFA-B3E5-40C6-8D37-6BEF95FDE5F4}" type="parTrans" cxnId="{DCB508D1-C0E6-45F1-BED3-E7AADCE435F7}">
      <dgm:prSet/>
      <dgm:spPr/>
      <dgm:t>
        <a:bodyPr/>
        <a:lstStyle/>
        <a:p>
          <a:endParaRPr lang="en-US"/>
        </a:p>
      </dgm:t>
    </dgm:pt>
    <dgm:pt modelId="{59C4F084-AB3F-4280-B8F4-A50DDDB40E72}" type="sibTrans" cxnId="{DCB508D1-C0E6-45F1-BED3-E7AADCE435F7}">
      <dgm:prSet/>
      <dgm:spPr/>
      <dgm:t>
        <a:bodyPr/>
        <a:lstStyle/>
        <a:p>
          <a:endParaRPr lang="en-US"/>
        </a:p>
      </dgm:t>
    </dgm:pt>
    <dgm:pt modelId="{D18A5AE1-BA17-4C86-8856-730D8F8EFABB}">
      <dgm:prSet phldrT="[Text]"/>
      <dgm:spPr/>
      <dgm:t>
        <a:bodyPr/>
        <a:lstStyle/>
        <a:p>
          <a:r>
            <a:rPr lang="en-US" dirty="0"/>
            <a:t>Finish a chapter, Finish a Lab, Watch a video, Read a white paper… All Accomplishments</a:t>
          </a:r>
        </a:p>
      </dgm:t>
    </dgm:pt>
    <dgm:pt modelId="{2E6CC550-1627-4A0F-960C-7BA102A368CE}" type="parTrans" cxnId="{456CBB37-C338-4A85-B203-C1EF07C1E29B}">
      <dgm:prSet/>
      <dgm:spPr/>
      <dgm:t>
        <a:bodyPr/>
        <a:lstStyle/>
        <a:p>
          <a:endParaRPr lang="en-US"/>
        </a:p>
      </dgm:t>
    </dgm:pt>
    <dgm:pt modelId="{F8D2A6F7-DB75-4E5E-AD52-95A209783E71}" type="sibTrans" cxnId="{456CBB37-C338-4A85-B203-C1EF07C1E29B}">
      <dgm:prSet/>
      <dgm:spPr/>
      <dgm:t>
        <a:bodyPr/>
        <a:lstStyle/>
        <a:p>
          <a:endParaRPr lang="en-US"/>
        </a:p>
      </dgm:t>
    </dgm:pt>
    <dgm:pt modelId="{14D8AC8A-33C5-44A3-B5BF-78609834B86C}">
      <dgm:prSet phldrT="[Text]" custT="1"/>
      <dgm:spPr/>
      <dgm:t>
        <a:bodyPr/>
        <a:lstStyle/>
        <a:p>
          <a:r>
            <a:rPr lang="en-US" sz="2400" b="1" dirty="0"/>
            <a:t>Get Family On Board</a:t>
          </a:r>
        </a:p>
      </dgm:t>
    </dgm:pt>
    <dgm:pt modelId="{27C15242-558A-418E-A43A-9F75E6C01A67}" type="parTrans" cxnId="{E294F488-A32A-4A08-86B8-C46D448322F8}">
      <dgm:prSet/>
      <dgm:spPr/>
      <dgm:t>
        <a:bodyPr/>
        <a:lstStyle/>
        <a:p>
          <a:endParaRPr lang="en-US"/>
        </a:p>
      </dgm:t>
    </dgm:pt>
    <dgm:pt modelId="{2DB076C8-ACAB-4D3B-8B20-256A32D5A27F}" type="sibTrans" cxnId="{E294F488-A32A-4A08-86B8-C46D448322F8}">
      <dgm:prSet/>
      <dgm:spPr/>
      <dgm:t>
        <a:bodyPr/>
        <a:lstStyle/>
        <a:p>
          <a:endParaRPr lang="en-US"/>
        </a:p>
      </dgm:t>
    </dgm:pt>
    <dgm:pt modelId="{5A8F2EBC-85E6-4CFB-A5D6-B5C6E38FF2D0}">
      <dgm:prSet phldrT="[Text]"/>
      <dgm:spPr/>
      <dgm:t>
        <a:bodyPr/>
        <a:lstStyle/>
        <a:p>
          <a:r>
            <a:rPr lang="en-US" dirty="0"/>
            <a:t>Make your goals, their goals.  Trip to Dave &amp; Busters upon completion, ice cream shop for a chapter</a:t>
          </a:r>
        </a:p>
      </dgm:t>
    </dgm:pt>
    <dgm:pt modelId="{B124AE46-1CB6-4DE3-99B5-03CBCA8EF69C}" type="parTrans" cxnId="{B833449A-1F4A-4A12-AC4B-51DA1F988436}">
      <dgm:prSet/>
      <dgm:spPr/>
      <dgm:t>
        <a:bodyPr/>
        <a:lstStyle/>
        <a:p>
          <a:endParaRPr lang="en-US"/>
        </a:p>
      </dgm:t>
    </dgm:pt>
    <dgm:pt modelId="{1A5B0BBB-2B43-4D49-BBC5-7EB9EBC1A8E0}" type="sibTrans" cxnId="{B833449A-1F4A-4A12-AC4B-51DA1F988436}">
      <dgm:prSet/>
      <dgm:spPr/>
      <dgm:t>
        <a:bodyPr/>
        <a:lstStyle/>
        <a:p>
          <a:endParaRPr lang="en-US"/>
        </a:p>
      </dgm:t>
    </dgm:pt>
    <dgm:pt modelId="{61D15527-5E73-453D-90DC-E7ECE35AF174}">
      <dgm:prSet phldrT="[Text]"/>
      <dgm:spPr/>
      <dgm:t>
        <a:bodyPr/>
        <a:lstStyle/>
        <a:p>
          <a:r>
            <a:rPr lang="en-US" dirty="0"/>
            <a:t>Make the Decision… Get STARTED NOW!</a:t>
          </a:r>
        </a:p>
      </dgm:t>
    </dgm:pt>
    <dgm:pt modelId="{C8286615-1483-45E1-A7DD-2B78139E3B02}">
      <dgm:prSet phldrT="[Text]"/>
      <dgm:spPr/>
      <dgm:t>
        <a:bodyPr/>
        <a:lstStyle/>
        <a:p>
          <a:r>
            <a:rPr lang="en-US" dirty="0"/>
            <a:t>Self, Career, Income, Stature</a:t>
          </a:r>
        </a:p>
      </dgm:t>
    </dgm:pt>
    <dgm:pt modelId="{69B51F39-3B47-48B7-92EB-29E466F800B8}">
      <dgm:prSet phldrT="[Text]" custT="1"/>
      <dgm:spPr/>
      <dgm:t>
        <a:bodyPr/>
        <a:lstStyle/>
        <a:p>
          <a:r>
            <a:rPr lang="en-US" sz="2400" b="1" dirty="0"/>
            <a:t>Value of Certification</a:t>
          </a:r>
        </a:p>
      </dgm:t>
    </dgm:pt>
    <dgm:pt modelId="{58C309A8-9467-49EF-8BBB-5C70CFFD842E}" type="sibTrans" cxnId="{B2003CBA-B996-489D-A5C1-66DFB3CEE7BB}">
      <dgm:prSet/>
      <dgm:spPr/>
      <dgm:t>
        <a:bodyPr/>
        <a:lstStyle/>
        <a:p>
          <a:endParaRPr lang="en-US"/>
        </a:p>
      </dgm:t>
    </dgm:pt>
    <dgm:pt modelId="{5AE9D5D5-76FC-439A-9AE4-5BC388489496}" type="parTrans" cxnId="{B2003CBA-B996-489D-A5C1-66DFB3CEE7BB}">
      <dgm:prSet/>
      <dgm:spPr/>
      <dgm:t>
        <a:bodyPr/>
        <a:lstStyle/>
        <a:p>
          <a:endParaRPr lang="en-US"/>
        </a:p>
      </dgm:t>
    </dgm:pt>
    <dgm:pt modelId="{8BB6A7F2-ED2B-4008-95CF-1D1E011586D7}" type="sibTrans" cxnId="{645CDCE4-551B-44E7-8F80-4508BF30A52F}">
      <dgm:prSet/>
      <dgm:spPr/>
      <dgm:t>
        <a:bodyPr/>
        <a:lstStyle/>
        <a:p>
          <a:endParaRPr lang="en-US"/>
        </a:p>
      </dgm:t>
    </dgm:pt>
    <dgm:pt modelId="{2169D7AD-9F62-4AA9-A4AE-CD0EABD6D227}" type="parTrans" cxnId="{645CDCE4-551B-44E7-8F80-4508BF30A52F}">
      <dgm:prSet/>
      <dgm:spPr/>
      <dgm:t>
        <a:bodyPr/>
        <a:lstStyle/>
        <a:p>
          <a:endParaRPr lang="en-US"/>
        </a:p>
      </dgm:t>
    </dgm:pt>
    <dgm:pt modelId="{4602EDAA-BEEE-4E5C-9564-DEFA69CCA61E}" type="sibTrans" cxnId="{BEECFBC1-6445-4E4A-A84D-FD28AC3798BE}">
      <dgm:prSet/>
      <dgm:spPr/>
      <dgm:t>
        <a:bodyPr/>
        <a:lstStyle/>
        <a:p>
          <a:endParaRPr lang="en-US"/>
        </a:p>
      </dgm:t>
    </dgm:pt>
    <dgm:pt modelId="{1C35EB20-526B-442D-82F1-F138A77AF665}" type="parTrans" cxnId="{BEECFBC1-6445-4E4A-A84D-FD28AC3798BE}">
      <dgm:prSet/>
      <dgm:spPr/>
      <dgm:t>
        <a:bodyPr/>
        <a:lstStyle/>
        <a:p>
          <a:endParaRPr lang="en-US"/>
        </a:p>
      </dgm:t>
    </dgm:pt>
    <dgm:pt modelId="{F2E65024-7ED2-4DDF-8FE2-F24BE255E80C}" type="pres">
      <dgm:prSet presAssocID="{A0E81277-C995-4559-9C7C-B76474E6D488}" presName="Name0" presStyleCnt="0">
        <dgm:presLayoutVars>
          <dgm:chMax/>
          <dgm:chPref/>
          <dgm:dir/>
        </dgm:presLayoutVars>
      </dgm:prSet>
      <dgm:spPr/>
    </dgm:pt>
    <dgm:pt modelId="{6C953D64-5C21-4858-A2CD-C68B469B68DA}" type="pres">
      <dgm:prSet presAssocID="{69B51F39-3B47-48B7-92EB-29E466F800B8}" presName="parenttextcomposite" presStyleCnt="0"/>
      <dgm:spPr/>
    </dgm:pt>
    <dgm:pt modelId="{1096B1FD-8681-4CCE-9BE7-0108F6F867B6}" type="pres">
      <dgm:prSet presAssocID="{69B51F39-3B47-48B7-92EB-29E466F800B8}" presName="parenttext" presStyleLbl="revTx" presStyleIdx="0" presStyleCnt="3">
        <dgm:presLayoutVars>
          <dgm:chMax/>
          <dgm:chPref val="2"/>
          <dgm:bulletEnabled val="1"/>
        </dgm:presLayoutVars>
      </dgm:prSet>
      <dgm:spPr/>
    </dgm:pt>
    <dgm:pt modelId="{48CF5DD6-2EA6-4F61-A72F-70046AC39D12}" type="pres">
      <dgm:prSet presAssocID="{69B51F39-3B47-48B7-92EB-29E466F800B8}" presName="composite" presStyleCnt="0"/>
      <dgm:spPr/>
    </dgm:pt>
    <dgm:pt modelId="{697BCE78-AE2E-443B-9DE2-18680639DF30}" type="pres">
      <dgm:prSet presAssocID="{69B51F39-3B47-48B7-92EB-29E466F800B8}" presName="chevron1" presStyleLbl="alignNode1" presStyleIdx="0" presStyleCnt="21"/>
      <dgm:spPr/>
    </dgm:pt>
    <dgm:pt modelId="{FB5F67B4-7FBB-46AF-90E1-70B885F9B1A0}" type="pres">
      <dgm:prSet presAssocID="{69B51F39-3B47-48B7-92EB-29E466F800B8}" presName="chevron2" presStyleLbl="alignNode1" presStyleIdx="1" presStyleCnt="21"/>
      <dgm:spPr/>
    </dgm:pt>
    <dgm:pt modelId="{8307738E-306A-4730-A007-084DF385F3FF}" type="pres">
      <dgm:prSet presAssocID="{69B51F39-3B47-48B7-92EB-29E466F800B8}" presName="chevron3" presStyleLbl="alignNode1" presStyleIdx="2" presStyleCnt="21"/>
      <dgm:spPr/>
    </dgm:pt>
    <dgm:pt modelId="{23CE8E51-E416-45BB-A560-660D53F17696}" type="pres">
      <dgm:prSet presAssocID="{69B51F39-3B47-48B7-92EB-29E466F800B8}" presName="chevron4" presStyleLbl="alignNode1" presStyleIdx="3" presStyleCnt="21"/>
      <dgm:spPr/>
    </dgm:pt>
    <dgm:pt modelId="{8EB562CC-BFA3-43A6-803F-9A1F56EBA880}" type="pres">
      <dgm:prSet presAssocID="{69B51F39-3B47-48B7-92EB-29E466F800B8}" presName="chevron5" presStyleLbl="alignNode1" presStyleIdx="4" presStyleCnt="21"/>
      <dgm:spPr/>
    </dgm:pt>
    <dgm:pt modelId="{ECAEAB1E-494D-470E-A80F-9C13B690092D}" type="pres">
      <dgm:prSet presAssocID="{69B51F39-3B47-48B7-92EB-29E466F800B8}" presName="chevron6" presStyleLbl="alignNode1" presStyleIdx="5" presStyleCnt="21"/>
      <dgm:spPr/>
    </dgm:pt>
    <dgm:pt modelId="{5FD98E53-203C-4FF7-82C6-F58DA8574E4F}" type="pres">
      <dgm:prSet presAssocID="{69B51F39-3B47-48B7-92EB-29E466F800B8}" presName="chevron7" presStyleLbl="alignNode1" presStyleIdx="6" presStyleCnt="21"/>
      <dgm:spPr/>
    </dgm:pt>
    <dgm:pt modelId="{6430F9DE-B067-4A84-A657-C1F37252AF82}" type="pres">
      <dgm:prSet presAssocID="{69B51F39-3B47-48B7-92EB-29E466F800B8}" presName="childtext" presStyleLbl="solidFgAcc1" presStyleIdx="0" presStyleCnt="3">
        <dgm:presLayoutVars>
          <dgm:chMax/>
          <dgm:chPref val="0"/>
          <dgm:bulletEnabled val="1"/>
        </dgm:presLayoutVars>
      </dgm:prSet>
      <dgm:spPr/>
    </dgm:pt>
    <dgm:pt modelId="{D180B4AE-2C4C-4FB6-92D4-E08EDE42E5D5}" type="pres">
      <dgm:prSet presAssocID="{58C309A8-9467-49EF-8BBB-5C70CFFD842E}" presName="sibTrans" presStyleCnt="0"/>
      <dgm:spPr/>
    </dgm:pt>
    <dgm:pt modelId="{E37C0367-9C02-4AD4-BD8C-CDDD728122AC}" type="pres">
      <dgm:prSet presAssocID="{EA2EDCA3-422C-4955-A76F-9674508B325C}" presName="parenttextcomposite" presStyleCnt="0"/>
      <dgm:spPr/>
    </dgm:pt>
    <dgm:pt modelId="{7879BA2E-6071-493E-B298-947188667C8F}" type="pres">
      <dgm:prSet presAssocID="{EA2EDCA3-422C-4955-A76F-9674508B325C}" presName="parenttext" presStyleLbl="revTx" presStyleIdx="1" presStyleCnt="3">
        <dgm:presLayoutVars>
          <dgm:chMax/>
          <dgm:chPref val="2"/>
          <dgm:bulletEnabled val="1"/>
        </dgm:presLayoutVars>
      </dgm:prSet>
      <dgm:spPr/>
    </dgm:pt>
    <dgm:pt modelId="{96004038-6C8D-4969-BA27-68E6A4709FDE}" type="pres">
      <dgm:prSet presAssocID="{EA2EDCA3-422C-4955-A76F-9674508B325C}" presName="composite" presStyleCnt="0"/>
      <dgm:spPr/>
    </dgm:pt>
    <dgm:pt modelId="{DED14C54-3C21-478E-813A-755AD321E72B}" type="pres">
      <dgm:prSet presAssocID="{EA2EDCA3-422C-4955-A76F-9674508B325C}" presName="chevron1" presStyleLbl="alignNode1" presStyleIdx="7" presStyleCnt="21"/>
      <dgm:spPr/>
    </dgm:pt>
    <dgm:pt modelId="{C31A6627-3921-4A2D-8661-4DE372666C87}" type="pres">
      <dgm:prSet presAssocID="{EA2EDCA3-422C-4955-A76F-9674508B325C}" presName="chevron2" presStyleLbl="alignNode1" presStyleIdx="8" presStyleCnt="21"/>
      <dgm:spPr/>
    </dgm:pt>
    <dgm:pt modelId="{9764ABBE-3EF0-4A1D-B1C4-6C93806C5F4F}" type="pres">
      <dgm:prSet presAssocID="{EA2EDCA3-422C-4955-A76F-9674508B325C}" presName="chevron3" presStyleLbl="alignNode1" presStyleIdx="9" presStyleCnt="21"/>
      <dgm:spPr/>
    </dgm:pt>
    <dgm:pt modelId="{F943E8BD-E77A-452D-B80B-55A5789CB422}" type="pres">
      <dgm:prSet presAssocID="{EA2EDCA3-422C-4955-A76F-9674508B325C}" presName="chevron4" presStyleLbl="alignNode1" presStyleIdx="10" presStyleCnt="21"/>
      <dgm:spPr/>
    </dgm:pt>
    <dgm:pt modelId="{C29948BC-4792-44BB-A348-E696F901916A}" type="pres">
      <dgm:prSet presAssocID="{EA2EDCA3-422C-4955-A76F-9674508B325C}" presName="chevron5" presStyleLbl="alignNode1" presStyleIdx="11" presStyleCnt="21"/>
      <dgm:spPr/>
    </dgm:pt>
    <dgm:pt modelId="{CAA4DF37-FA78-4AB3-AB6B-B4E143DCF66F}" type="pres">
      <dgm:prSet presAssocID="{EA2EDCA3-422C-4955-A76F-9674508B325C}" presName="chevron6" presStyleLbl="alignNode1" presStyleIdx="12" presStyleCnt="21"/>
      <dgm:spPr/>
    </dgm:pt>
    <dgm:pt modelId="{FE5A660D-7DC7-4EE0-B8EF-640A2AD33F22}" type="pres">
      <dgm:prSet presAssocID="{EA2EDCA3-422C-4955-A76F-9674508B325C}" presName="chevron7" presStyleLbl="alignNode1" presStyleIdx="13" presStyleCnt="21"/>
      <dgm:spPr/>
    </dgm:pt>
    <dgm:pt modelId="{BCDF6F4A-81DF-4A84-B5F9-8A911F18A7DB}" type="pres">
      <dgm:prSet presAssocID="{EA2EDCA3-422C-4955-A76F-9674508B325C}" presName="childtext" presStyleLbl="solidFgAcc1" presStyleIdx="1" presStyleCnt="3">
        <dgm:presLayoutVars>
          <dgm:chMax/>
          <dgm:chPref val="0"/>
          <dgm:bulletEnabled val="1"/>
        </dgm:presLayoutVars>
      </dgm:prSet>
      <dgm:spPr/>
    </dgm:pt>
    <dgm:pt modelId="{ECF4BD3F-D3E2-412F-AA5A-2C549F9F2C16}" type="pres">
      <dgm:prSet presAssocID="{59C4F084-AB3F-4280-B8F4-A50DDDB40E72}" presName="sibTrans" presStyleCnt="0"/>
      <dgm:spPr/>
    </dgm:pt>
    <dgm:pt modelId="{7FD98923-305C-4B5F-A5EC-AD60CAEEEF67}" type="pres">
      <dgm:prSet presAssocID="{14D8AC8A-33C5-44A3-B5BF-78609834B86C}" presName="parenttextcomposite" presStyleCnt="0"/>
      <dgm:spPr/>
    </dgm:pt>
    <dgm:pt modelId="{1750DEA6-1349-4773-8D83-7B0686008CCB}" type="pres">
      <dgm:prSet presAssocID="{14D8AC8A-33C5-44A3-B5BF-78609834B86C}" presName="parenttext" presStyleLbl="revTx" presStyleIdx="2" presStyleCnt="3">
        <dgm:presLayoutVars>
          <dgm:chMax/>
          <dgm:chPref val="2"/>
          <dgm:bulletEnabled val="1"/>
        </dgm:presLayoutVars>
      </dgm:prSet>
      <dgm:spPr/>
    </dgm:pt>
    <dgm:pt modelId="{98636034-8CA0-4ADE-BDC4-C0D8FE48C304}" type="pres">
      <dgm:prSet presAssocID="{14D8AC8A-33C5-44A3-B5BF-78609834B86C}" presName="composite" presStyleCnt="0"/>
      <dgm:spPr/>
    </dgm:pt>
    <dgm:pt modelId="{015A0644-3C96-4C98-962B-5D0471BF608E}" type="pres">
      <dgm:prSet presAssocID="{14D8AC8A-33C5-44A3-B5BF-78609834B86C}" presName="chevron1" presStyleLbl="alignNode1" presStyleIdx="14" presStyleCnt="21"/>
      <dgm:spPr/>
    </dgm:pt>
    <dgm:pt modelId="{F7C47965-CCA8-4055-A56D-36FA36F10495}" type="pres">
      <dgm:prSet presAssocID="{14D8AC8A-33C5-44A3-B5BF-78609834B86C}" presName="chevron2" presStyleLbl="alignNode1" presStyleIdx="15" presStyleCnt="21"/>
      <dgm:spPr/>
    </dgm:pt>
    <dgm:pt modelId="{45214177-EA78-487F-A042-51A83FA331D9}" type="pres">
      <dgm:prSet presAssocID="{14D8AC8A-33C5-44A3-B5BF-78609834B86C}" presName="chevron3" presStyleLbl="alignNode1" presStyleIdx="16" presStyleCnt="21"/>
      <dgm:spPr/>
    </dgm:pt>
    <dgm:pt modelId="{E370AF20-FED3-4585-9FB5-E15F7689A43F}" type="pres">
      <dgm:prSet presAssocID="{14D8AC8A-33C5-44A3-B5BF-78609834B86C}" presName="chevron4" presStyleLbl="alignNode1" presStyleIdx="17" presStyleCnt="21"/>
      <dgm:spPr/>
    </dgm:pt>
    <dgm:pt modelId="{B0F91B8B-242D-43B8-8FE9-29EB22F913B3}" type="pres">
      <dgm:prSet presAssocID="{14D8AC8A-33C5-44A3-B5BF-78609834B86C}" presName="chevron5" presStyleLbl="alignNode1" presStyleIdx="18" presStyleCnt="21"/>
      <dgm:spPr/>
    </dgm:pt>
    <dgm:pt modelId="{91D87061-10B0-4CD9-873D-0519C56E9BA3}" type="pres">
      <dgm:prSet presAssocID="{14D8AC8A-33C5-44A3-B5BF-78609834B86C}" presName="chevron6" presStyleLbl="alignNode1" presStyleIdx="19" presStyleCnt="21"/>
      <dgm:spPr/>
    </dgm:pt>
    <dgm:pt modelId="{D4A7A6B8-D189-412B-AC72-947AAFE51E12}" type="pres">
      <dgm:prSet presAssocID="{14D8AC8A-33C5-44A3-B5BF-78609834B86C}" presName="chevron7" presStyleLbl="alignNode1" presStyleIdx="20" presStyleCnt="21"/>
      <dgm:spPr/>
    </dgm:pt>
    <dgm:pt modelId="{75C65DA6-CD6F-41DA-9528-0164593EB2E9}" type="pres">
      <dgm:prSet presAssocID="{14D8AC8A-33C5-44A3-B5BF-78609834B86C}" presName="childtext" presStyleLbl="solidFgAcc1" presStyleIdx="2" presStyleCnt="3">
        <dgm:presLayoutVars>
          <dgm:chMax/>
          <dgm:chPref val="0"/>
          <dgm:bulletEnabled val="1"/>
        </dgm:presLayoutVars>
      </dgm:prSet>
      <dgm:spPr/>
    </dgm:pt>
  </dgm:ptLst>
  <dgm:cxnLst>
    <dgm:cxn modelId="{332F6018-AFE4-48F5-8915-128A29D339EF}" type="presOf" srcId="{C8286615-1483-45E1-A7DD-2B78139E3B02}" destId="{6430F9DE-B067-4A84-A657-C1F37252AF82}" srcOrd="0" destOrd="0" presId="urn:microsoft.com/office/officeart/2008/layout/VerticalAccentList"/>
    <dgm:cxn modelId="{89469D19-A6AD-414B-B0C4-9B2F85B5C078}" type="presOf" srcId="{61D15527-5E73-453D-90DC-E7ECE35AF174}" destId="{6430F9DE-B067-4A84-A657-C1F37252AF82}" srcOrd="0" destOrd="1" presId="urn:microsoft.com/office/officeart/2008/layout/VerticalAccentList"/>
    <dgm:cxn modelId="{7E88151F-86B5-4265-8C99-08B29B57411D}" type="presOf" srcId="{A0E81277-C995-4559-9C7C-B76474E6D488}" destId="{F2E65024-7ED2-4DDF-8FE2-F24BE255E80C}" srcOrd="0" destOrd="0" presId="urn:microsoft.com/office/officeart/2008/layout/VerticalAccentList"/>
    <dgm:cxn modelId="{456CBB37-C338-4A85-B203-C1EF07C1E29B}" srcId="{EA2EDCA3-422C-4955-A76F-9674508B325C}" destId="{D18A5AE1-BA17-4C86-8856-730D8F8EFABB}" srcOrd="0" destOrd="0" parTransId="{2E6CC550-1627-4A0F-960C-7BA102A368CE}" sibTransId="{F8D2A6F7-DB75-4E5E-AD52-95A209783E71}"/>
    <dgm:cxn modelId="{5BC0CD61-AF19-4B3E-AF4F-04DE195CDEBC}" type="presOf" srcId="{69B51F39-3B47-48B7-92EB-29E466F800B8}" destId="{1096B1FD-8681-4CCE-9BE7-0108F6F867B6}" srcOrd="0" destOrd="0" presId="urn:microsoft.com/office/officeart/2008/layout/VerticalAccentList"/>
    <dgm:cxn modelId="{2F50DC45-2C95-4E9A-9B29-983B8192B638}" type="presOf" srcId="{D18A5AE1-BA17-4C86-8856-730D8F8EFABB}" destId="{BCDF6F4A-81DF-4A84-B5F9-8A911F18A7DB}" srcOrd="0" destOrd="0" presId="urn:microsoft.com/office/officeart/2008/layout/VerticalAccentList"/>
    <dgm:cxn modelId="{15C7436B-EEB4-4694-9CB0-B50EA81B3C73}" type="presOf" srcId="{5A8F2EBC-85E6-4CFB-A5D6-B5C6E38FF2D0}" destId="{75C65DA6-CD6F-41DA-9528-0164593EB2E9}" srcOrd="0" destOrd="0" presId="urn:microsoft.com/office/officeart/2008/layout/VerticalAccentList"/>
    <dgm:cxn modelId="{E294F488-A32A-4A08-86B8-C46D448322F8}" srcId="{A0E81277-C995-4559-9C7C-B76474E6D488}" destId="{14D8AC8A-33C5-44A3-B5BF-78609834B86C}" srcOrd="2" destOrd="0" parTransId="{27C15242-558A-418E-A43A-9F75E6C01A67}" sibTransId="{2DB076C8-ACAB-4D3B-8B20-256A32D5A27F}"/>
    <dgm:cxn modelId="{2BCF6893-C2F7-4C15-8D15-4F75B3C6E3C8}" type="presOf" srcId="{EA2EDCA3-422C-4955-A76F-9674508B325C}" destId="{7879BA2E-6071-493E-B298-947188667C8F}" srcOrd="0" destOrd="0" presId="urn:microsoft.com/office/officeart/2008/layout/VerticalAccentList"/>
    <dgm:cxn modelId="{B833449A-1F4A-4A12-AC4B-51DA1F988436}" srcId="{14D8AC8A-33C5-44A3-B5BF-78609834B86C}" destId="{5A8F2EBC-85E6-4CFB-A5D6-B5C6E38FF2D0}" srcOrd="0" destOrd="0" parTransId="{B124AE46-1CB6-4DE3-99B5-03CBCA8EF69C}" sibTransId="{1A5B0BBB-2B43-4D49-BBC5-7EB9EBC1A8E0}"/>
    <dgm:cxn modelId="{B2003CBA-B996-489D-A5C1-66DFB3CEE7BB}" srcId="{A0E81277-C995-4559-9C7C-B76474E6D488}" destId="{69B51F39-3B47-48B7-92EB-29E466F800B8}" srcOrd="0" destOrd="0" parTransId="{5AE9D5D5-76FC-439A-9AE4-5BC388489496}" sibTransId="{58C309A8-9467-49EF-8BBB-5C70CFFD842E}"/>
    <dgm:cxn modelId="{BEECFBC1-6445-4E4A-A84D-FD28AC3798BE}" srcId="{69B51F39-3B47-48B7-92EB-29E466F800B8}" destId="{C8286615-1483-45E1-A7DD-2B78139E3B02}" srcOrd="0" destOrd="0" parTransId="{1C35EB20-526B-442D-82F1-F138A77AF665}" sibTransId="{4602EDAA-BEEE-4E5C-9564-DEFA69CCA61E}"/>
    <dgm:cxn modelId="{44DDC7C6-3BD9-499C-A15B-692FE29B2B76}" type="presOf" srcId="{14D8AC8A-33C5-44A3-B5BF-78609834B86C}" destId="{1750DEA6-1349-4773-8D83-7B0686008CCB}" srcOrd="0" destOrd="0" presId="urn:microsoft.com/office/officeart/2008/layout/VerticalAccentList"/>
    <dgm:cxn modelId="{DCB508D1-C0E6-45F1-BED3-E7AADCE435F7}" srcId="{A0E81277-C995-4559-9C7C-B76474E6D488}" destId="{EA2EDCA3-422C-4955-A76F-9674508B325C}" srcOrd="1" destOrd="0" parTransId="{45A3CEFA-B3E5-40C6-8D37-6BEF95FDE5F4}" sibTransId="{59C4F084-AB3F-4280-B8F4-A50DDDB40E72}"/>
    <dgm:cxn modelId="{645CDCE4-551B-44E7-8F80-4508BF30A52F}" srcId="{69B51F39-3B47-48B7-92EB-29E466F800B8}" destId="{61D15527-5E73-453D-90DC-E7ECE35AF174}" srcOrd="1" destOrd="0" parTransId="{2169D7AD-9F62-4AA9-A4AE-CD0EABD6D227}" sibTransId="{8BB6A7F2-ED2B-4008-95CF-1D1E011586D7}"/>
    <dgm:cxn modelId="{124D930B-5ABC-4489-B5AE-6A35C4B8E5B3}" type="presParOf" srcId="{F2E65024-7ED2-4DDF-8FE2-F24BE255E80C}" destId="{6C953D64-5C21-4858-A2CD-C68B469B68DA}" srcOrd="0" destOrd="0" presId="urn:microsoft.com/office/officeart/2008/layout/VerticalAccentList"/>
    <dgm:cxn modelId="{B8E9FBFF-682C-4D9D-BBDB-E897023ABFE7}" type="presParOf" srcId="{6C953D64-5C21-4858-A2CD-C68B469B68DA}" destId="{1096B1FD-8681-4CCE-9BE7-0108F6F867B6}" srcOrd="0" destOrd="0" presId="urn:microsoft.com/office/officeart/2008/layout/VerticalAccentList"/>
    <dgm:cxn modelId="{7C3F6259-DD84-4AEC-92BE-6F25A08FAF2B}" type="presParOf" srcId="{F2E65024-7ED2-4DDF-8FE2-F24BE255E80C}" destId="{48CF5DD6-2EA6-4F61-A72F-70046AC39D12}" srcOrd="1" destOrd="0" presId="urn:microsoft.com/office/officeart/2008/layout/VerticalAccentList"/>
    <dgm:cxn modelId="{9DC693CA-04D6-4EC7-B44C-625C73F02530}" type="presParOf" srcId="{48CF5DD6-2EA6-4F61-A72F-70046AC39D12}" destId="{697BCE78-AE2E-443B-9DE2-18680639DF30}" srcOrd="0" destOrd="0" presId="urn:microsoft.com/office/officeart/2008/layout/VerticalAccentList"/>
    <dgm:cxn modelId="{C02D1D43-4365-4FC1-B435-FDF1A169250F}" type="presParOf" srcId="{48CF5DD6-2EA6-4F61-A72F-70046AC39D12}" destId="{FB5F67B4-7FBB-46AF-90E1-70B885F9B1A0}" srcOrd="1" destOrd="0" presId="urn:microsoft.com/office/officeart/2008/layout/VerticalAccentList"/>
    <dgm:cxn modelId="{AA0A4BE5-8D5F-405E-A75D-1B7351261FEC}" type="presParOf" srcId="{48CF5DD6-2EA6-4F61-A72F-70046AC39D12}" destId="{8307738E-306A-4730-A007-084DF385F3FF}" srcOrd="2" destOrd="0" presId="urn:microsoft.com/office/officeart/2008/layout/VerticalAccentList"/>
    <dgm:cxn modelId="{423BC8CD-36D2-4575-BCBC-CB4E0733E900}" type="presParOf" srcId="{48CF5DD6-2EA6-4F61-A72F-70046AC39D12}" destId="{23CE8E51-E416-45BB-A560-660D53F17696}" srcOrd="3" destOrd="0" presId="urn:microsoft.com/office/officeart/2008/layout/VerticalAccentList"/>
    <dgm:cxn modelId="{075837D2-0EB8-4DFD-BB76-F62E25767179}" type="presParOf" srcId="{48CF5DD6-2EA6-4F61-A72F-70046AC39D12}" destId="{8EB562CC-BFA3-43A6-803F-9A1F56EBA880}" srcOrd="4" destOrd="0" presId="urn:microsoft.com/office/officeart/2008/layout/VerticalAccentList"/>
    <dgm:cxn modelId="{72A4F06A-9754-41E3-9E41-C14AFE1A7747}" type="presParOf" srcId="{48CF5DD6-2EA6-4F61-A72F-70046AC39D12}" destId="{ECAEAB1E-494D-470E-A80F-9C13B690092D}" srcOrd="5" destOrd="0" presId="urn:microsoft.com/office/officeart/2008/layout/VerticalAccentList"/>
    <dgm:cxn modelId="{53F27EB9-4424-41E6-AAC8-887721244EFE}" type="presParOf" srcId="{48CF5DD6-2EA6-4F61-A72F-70046AC39D12}" destId="{5FD98E53-203C-4FF7-82C6-F58DA8574E4F}" srcOrd="6" destOrd="0" presId="urn:microsoft.com/office/officeart/2008/layout/VerticalAccentList"/>
    <dgm:cxn modelId="{0463306C-86AD-4E80-A11F-3EEBF62631ED}" type="presParOf" srcId="{48CF5DD6-2EA6-4F61-A72F-70046AC39D12}" destId="{6430F9DE-B067-4A84-A657-C1F37252AF82}" srcOrd="7" destOrd="0" presId="urn:microsoft.com/office/officeart/2008/layout/VerticalAccentList"/>
    <dgm:cxn modelId="{5A603676-7C5E-4A84-8B40-F4C719222D64}" type="presParOf" srcId="{F2E65024-7ED2-4DDF-8FE2-F24BE255E80C}" destId="{D180B4AE-2C4C-4FB6-92D4-E08EDE42E5D5}" srcOrd="2" destOrd="0" presId="urn:microsoft.com/office/officeart/2008/layout/VerticalAccentList"/>
    <dgm:cxn modelId="{8EBA3450-776E-4F06-B4B5-2992564B9F4B}" type="presParOf" srcId="{F2E65024-7ED2-4DDF-8FE2-F24BE255E80C}" destId="{E37C0367-9C02-4AD4-BD8C-CDDD728122AC}" srcOrd="3" destOrd="0" presId="urn:microsoft.com/office/officeart/2008/layout/VerticalAccentList"/>
    <dgm:cxn modelId="{50A2A937-C3FE-4124-984C-5F722B5A6A29}" type="presParOf" srcId="{E37C0367-9C02-4AD4-BD8C-CDDD728122AC}" destId="{7879BA2E-6071-493E-B298-947188667C8F}" srcOrd="0" destOrd="0" presId="urn:microsoft.com/office/officeart/2008/layout/VerticalAccentList"/>
    <dgm:cxn modelId="{1B8C3AF2-2F9E-422E-A726-82E1441D8486}" type="presParOf" srcId="{F2E65024-7ED2-4DDF-8FE2-F24BE255E80C}" destId="{96004038-6C8D-4969-BA27-68E6A4709FDE}" srcOrd="4" destOrd="0" presId="urn:microsoft.com/office/officeart/2008/layout/VerticalAccentList"/>
    <dgm:cxn modelId="{268F0220-C4A2-489D-8BE8-5155EBE4DD0B}" type="presParOf" srcId="{96004038-6C8D-4969-BA27-68E6A4709FDE}" destId="{DED14C54-3C21-478E-813A-755AD321E72B}" srcOrd="0" destOrd="0" presId="urn:microsoft.com/office/officeart/2008/layout/VerticalAccentList"/>
    <dgm:cxn modelId="{05B304E8-55AD-49F9-99B3-45058C78321E}" type="presParOf" srcId="{96004038-6C8D-4969-BA27-68E6A4709FDE}" destId="{C31A6627-3921-4A2D-8661-4DE372666C87}" srcOrd="1" destOrd="0" presId="urn:microsoft.com/office/officeart/2008/layout/VerticalAccentList"/>
    <dgm:cxn modelId="{0C94B144-9F2A-4EB9-92D7-CE710BD9A944}" type="presParOf" srcId="{96004038-6C8D-4969-BA27-68E6A4709FDE}" destId="{9764ABBE-3EF0-4A1D-B1C4-6C93806C5F4F}" srcOrd="2" destOrd="0" presId="urn:microsoft.com/office/officeart/2008/layout/VerticalAccentList"/>
    <dgm:cxn modelId="{7C6BCCA1-046F-4616-A006-490B037F52D0}" type="presParOf" srcId="{96004038-6C8D-4969-BA27-68E6A4709FDE}" destId="{F943E8BD-E77A-452D-B80B-55A5789CB422}" srcOrd="3" destOrd="0" presId="urn:microsoft.com/office/officeart/2008/layout/VerticalAccentList"/>
    <dgm:cxn modelId="{492036A9-2978-4FC9-A433-D24024B98F8D}" type="presParOf" srcId="{96004038-6C8D-4969-BA27-68E6A4709FDE}" destId="{C29948BC-4792-44BB-A348-E696F901916A}" srcOrd="4" destOrd="0" presId="urn:microsoft.com/office/officeart/2008/layout/VerticalAccentList"/>
    <dgm:cxn modelId="{569B5DC0-4C09-47AD-B016-F9E8B5AB4489}" type="presParOf" srcId="{96004038-6C8D-4969-BA27-68E6A4709FDE}" destId="{CAA4DF37-FA78-4AB3-AB6B-B4E143DCF66F}" srcOrd="5" destOrd="0" presId="urn:microsoft.com/office/officeart/2008/layout/VerticalAccentList"/>
    <dgm:cxn modelId="{CD964DD1-68DF-4919-8C8B-4267DF416832}" type="presParOf" srcId="{96004038-6C8D-4969-BA27-68E6A4709FDE}" destId="{FE5A660D-7DC7-4EE0-B8EF-640A2AD33F22}" srcOrd="6" destOrd="0" presId="urn:microsoft.com/office/officeart/2008/layout/VerticalAccentList"/>
    <dgm:cxn modelId="{33C914E8-26D6-4B63-AFA3-77A485857C2F}" type="presParOf" srcId="{96004038-6C8D-4969-BA27-68E6A4709FDE}" destId="{BCDF6F4A-81DF-4A84-B5F9-8A911F18A7DB}" srcOrd="7" destOrd="0" presId="urn:microsoft.com/office/officeart/2008/layout/VerticalAccentList"/>
    <dgm:cxn modelId="{E7A6BB16-072F-4B4F-B183-26F78685B69D}" type="presParOf" srcId="{F2E65024-7ED2-4DDF-8FE2-F24BE255E80C}" destId="{ECF4BD3F-D3E2-412F-AA5A-2C549F9F2C16}" srcOrd="5" destOrd="0" presId="urn:microsoft.com/office/officeart/2008/layout/VerticalAccentList"/>
    <dgm:cxn modelId="{448D58E5-9C2D-4566-90FE-85E6E1D8EA9D}" type="presParOf" srcId="{F2E65024-7ED2-4DDF-8FE2-F24BE255E80C}" destId="{7FD98923-305C-4B5F-A5EC-AD60CAEEEF67}" srcOrd="6" destOrd="0" presId="urn:microsoft.com/office/officeart/2008/layout/VerticalAccentList"/>
    <dgm:cxn modelId="{B87A8431-DDE5-4A12-B102-CDFD82A411A4}" type="presParOf" srcId="{7FD98923-305C-4B5F-A5EC-AD60CAEEEF67}" destId="{1750DEA6-1349-4773-8D83-7B0686008CCB}" srcOrd="0" destOrd="0" presId="urn:microsoft.com/office/officeart/2008/layout/VerticalAccentList"/>
    <dgm:cxn modelId="{69CA9A43-A0A5-41DE-B140-96047D410862}" type="presParOf" srcId="{F2E65024-7ED2-4DDF-8FE2-F24BE255E80C}" destId="{98636034-8CA0-4ADE-BDC4-C0D8FE48C304}" srcOrd="7" destOrd="0" presId="urn:microsoft.com/office/officeart/2008/layout/VerticalAccentList"/>
    <dgm:cxn modelId="{DBCC94E3-5864-456A-9B02-AE7393697654}" type="presParOf" srcId="{98636034-8CA0-4ADE-BDC4-C0D8FE48C304}" destId="{015A0644-3C96-4C98-962B-5D0471BF608E}" srcOrd="0" destOrd="0" presId="urn:microsoft.com/office/officeart/2008/layout/VerticalAccentList"/>
    <dgm:cxn modelId="{D85631B4-94B0-4DD0-BF7D-0128684539A5}" type="presParOf" srcId="{98636034-8CA0-4ADE-BDC4-C0D8FE48C304}" destId="{F7C47965-CCA8-4055-A56D-36FA36F10495}" srcOrd="1" destOrd="0" presId="urn:microsoft.com/office/officeart/2008/layout/VerticalAccentList"/>
    <dgm:cxn modelId="{EAF54B81-7D15-4286-AD6B-92CB085EF00F}" type="presParOf" srcId="{98636034-8CA0-4ADE-BDC4-C0D8FE48C304}" destId="{45214177-EA78-487F-A042-51A83FA331D9}" srcOrd="2" destOrd="0" presId="urn:microsoft.com/office/officeart/2008/layout/VerticalAccentList"/>
    <dgm:cxn modelId="{35A812DF-4D71-4807-8B33-FAAFFA033FE1}" type="presParOf" srcId="{98636034-8CA0-4ADE-BDC4-C0D8FE48C304}" destId="{E370AF20-FED3-4585-9FB5-E15F7689A43F}" srcOrd="3" destOrd="0" presId="urn:microsoft.com/office/officeart/2008/layout/VerticalAccentList"/>
    <dgm:cxn modelId="{484ADF46-2DC8-4F12-A0C2-A712E6A53F33}" type="presParOf" srcId="{98636034-8CA0-4ADE-BDC4-C0D8FE48C304}" destId="{B0F91B8B-242D-43B8-8FE9-29EB22F913B3}" srcOrd="4" destOrd="0" presId="urn:microsoft.com/office/officeart/2008/layout/VerticalAccentList"/>
    <dgm:cxn modelId="{FF848964-1694-4382-BFD4-79F3024505FD}" type="presParOf" srcId="{98636034-8CA0-4ADE-BDC4-C0D8FE48C304}" destId="{91D87061-10B0-4CD9-873D-0519C56E9BA3}" srcOrd="5" destOrd="0" presId="urn:microsoft.com/office/officeart/2008/layout/VerticalAccentList"/>
    <dgm:cxn modelId="{68AB7B2D-60B4-4426-AB47-DEB11806E1F8}" type="presParOf" srcId="{98636034-8CA0-4ADE-BDC4-C0D8FE48C304}" destId="{D4A7A6B8-D189-412B-AC72-947AAFE51E12}" srcOrd="6" destOrd="0" presId="urn:microsoft.com/office/officeart/2008/layout/VerticalAccentList"/>
    <dgm:cxn modelId="{B59E6CA4-D27B-4D13-9DE2-7A6C0CFE8340}" type="presParOf" srcId="{98636034-8CA0-4ADE-BDC4-C0D8FE48C304}" destId="{75C65DA6-CD6F-41DA-9528-0164593EB2E9}"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2" custScaleY="81530">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14"/>
      <dgm:spPr/>
    </dgm:pt>
    <dgm:pt modelId="{EE0AB3AA-D3AB-48E1-9321-A3137B8D322E}" type="pres">
      <dgm:prSet presAssocID="{D464049D-740D-4FE9-A0DA-CD61A1FF4485}" presName="chevron2" presStyleLbl="alignNode1" presStyleIdx="1" presStyleCnt="14"/>
      <dgm:spPr/>
    </dgm:pt>
    <dgm:pt modelId="{9329C696-5B71-4928-A272-8948028E97E5}" type="pres">
      <dgm:prSet presAssocID="{D464049D-740D-4FE9-A0DA-CD61A1FF4485}" presName="chevron3" presStyleLbl="alignNode1" presStyleIdx="2" presStyleCnt="14"/>
      <dgm:spPr/>
    </dgm:pt>
    <dgm:pt modelId="{38B69B3D-B02E-4121-82C7-F0C86715384C}" type="pres">
      <dgm:prSet presAssocID="{D464049D-740D-4FE9-A0DA-CD61A1FF4485}" presName="chevron4" presStyleLbl="alignNode1" presStyleIdx="3" presStyleCnt="14"/>
      <dgm:spPr/>
    </dgm:pt>
    <dgm:pt modelId="{F924661F-8EEB-4E1B-A452-D985D6D04D0A}" type="pres">
      <dgm:prSet presAssocID="{D464049D-740D-4FE9-A0DA-CD61A1FF4485}" presName="chevron5" presStyleLbl="alignNode1" presStyleIdx="4" presStyleCnt="14"/>
      <dgm:spPr/>
    </dgm:pt>
    <dgm:pt modelId="{C98C52F9-726D-4807-ABED-4E29C1B934C9}" type="pres">
      <dgm:prSet presAssocID="{D464049D-740D-4FE9-A0DA-CD61A1FF4485}" presName="chevron6" presStyleLbl="alignNode1" presStyleIdx="5" presStyleCnt="14"/>
      <dgm:spPr/>
    </dgm:pt>
    <dgm:pt modelId="{B9A8AC12-3C04-42B5-B797-2F1380D76C01}" type="pres">
      <dgm:prSet presAssocID="{D464049D-740D-4FE9-A0DA-CD61A1FF4485}" presName="chevron7" presStyleLbl="alignNode1" presStyleIdx="6" presStyleCnt="14"/>
      <dgm:spPr/>
    </dgm:pt>
    <dgm:pt modelId="{A3321F54-D695-48CF-9C80-8D8D97947C77}" type="pres">
      <dgm:prSet presAssocID="{D464049D-740D-4FE9-A0DA-CD61A1FF4485}" presName="childtext" presStyleLbl="solidFgAcc1" presStyleIdx="0" presStyleCnt="2">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2">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14"/>
      <dgm:spPr/>
    </dgm:pt>
    <dgm:pt modelId="{70D65ECC-FE53-4123-A18B-84F76B12E4C0}" type="pres">
      <dgm:prSet presAssocID="{85DD6230-7E39-489F-B845-2144D2FB3186}" presName="chevron2" presStyleLbl="alignNode1" presStyleIdx="8" presStyleCnt="14"/>
      <dgm:spPr/>
    </dgm:pt>
    <dgm:pt modelId="{1C848B6A-2F2F-44B0-A09C-1E5B13D04672}" type="pres">
      <dgm:prSet presAssocID="{85DD6230-7E39-489F-B845-2144D2FB3186}" presName="chevron3" presStyleLbl="alignNode1" presStyleIdx="9" presStyleCnt="14"/>
      <dgm:spPr/>
    </dgm:pt>
    <dgm:pt modelId="{6E5BAEEB-E1CF-40E4-9ED1-39B760C87CA8}" type="pres">
      <dgm:prSet presAssocID="{85DD6230-7E39-489F-B845-2144D2FB3186}" presName="chevron4" presStyleLbl="alignNode1" presStyleIdx="10" presStyleCnt="14"/>
      <dgm:spPr/>
    </dgm:pt>
    <dgm:pt modelId="{AF33DC73-B11F-4ACE-BFF3-2270EBF01C95}" type="pres">
      <dgm:prSet presAssocID="{85DD6230-7E39-489F-B845-2144D2FB3186}" presName="chevron5" presStyleLbl="alignNode1" presStyleIdx="11" presStyleCnt="14"/>
      <dgm:spPr/>
    </dgm:pt>
    <dgm:pt modelId="{8BEE9EF1-0C1A-4B48-B826-DB65676D1DFD}" type="pres">
      <dgm:prSet presAssocID="{85DD6230-7E39-489F-B845-2144D2FB3186}" presName="chevron6" presStyleLbl="alignNode1" presStyleIdx="12" presStyleCnt="14"/>
      <dgm:spPr/>
    </dgm:pt>
    <dgm:pt modelId="{15DBB07C-1792-42CF-BF62-030823DEF5D2}" type="pres">
      <dgm:prSet presAssocID="{85DD6230-7E39-489F-B845-2144D2FB3186}" presName="chevron7" presStyleLbl="alignNode1" presStyleIdx="13" presStyleCnt="14"/>
      <dgm:spPr/>
    </dgm:pt>
    <dgm:pt modelId="{9E60AD78-2486-4FA6-A6D4-F802030DC906}" type="pres">
      <dgm:prSet presAssocID="{85DD6230-7E39-489F-B845-2144D2FB3186}" presName="childtext" presStyleLbl="solidFgAcc1" presStyleIdx="1" presStyleCnt="2">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7195F65-91A8-4BE3-8B17-75C326A877B4}" srcId="{85DD6230-7E39-489F-B845-2144D2FB3186}" destId="{B555DA5C-EE45-4E3B-ADE8-1C1E1A54C064}" srcOrd="0" destOrd="0" parTransId="{3429BBDB-B226-4D65-8AA8-1CD1B7B3AD68}" sibTransId="{233C0419-6636-436A-A650-4B3A1BB2A6C4}"/>
    <dgm:cxn modelId="{A575ECA1-C4E2-4353-A321-C754046CF012}" type="presOf" srcId="{3E04A716-B106-4C88-ADD4-4F101E22C607}" destId="{CC29E4EB-DEC7-4A77-B8FD-8661E7B639E7}"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E66B2B-0469-4ADF-B8EE-9B52D1FC1C7A}"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1D491E77-FA7E-4607-9D49-B7EFA02976DB}">
      <dgm:prSet phldrT="[Text]" custT="1"/>
      <dgm:spPr/>
      <dgm:t>
        <a:bodyPr/>
        <a:lstStyle/>
        <a:p>
          <a:r>
            <a:rPr lang="en-US" sz="2400" b="1" dirty="0"/>
            <a:t>Practice &amp; Experience</a:t>
          </a:r>
        </a:p>
      </dgm:t>
    </dgm:pt>
    <dgm:pt modelId="{D545B7AD-FFA0-4148-BC74-FB3E691A2E09}" type="parTrans" cxnId="{E1B48328-774B-4E15-AECB-07653BD8AD87}">
      <dgm:prSet/>
      <dgm:spPr/>
      <dgm:t>
        <a:bodyPr/>
        <a:lstStyle/>
        <a:p>
          <a:endParaRPr lang="en-US"/>
        </a:p>
      </dgm:t>
    </dgm:pt>
    <dgm:pt modelId="{A620F812-EEA4-409A-A818-BDB74E99D4DB}" type="sibTrans" cxnId="{E1B48328-774B-4E15-AECB-07653BD8AD87}">
      <dgm:prSet/>
      <dgm:spPr/>
      <dgm:t>
        <a:bodyPr/>
        <a:lstStyle/>
        <a:p>
          <a:endParaRPr lang="en-US"/>
        </a:p>
      </dgm:t>
    </dgm:pt>
    <dgm:pt modelId="{E5B1F756-9FCC-4BB4-BECC-34CE4005FF03}">
      <dgm:prSet phldrT="[Text]"/>
      <dgm:spPr/>
      <dgm:t>
        <a:bodyPr/>
        <a:lstStyle/>
        <a:p>
          <a:r>
            <a:rPr lang="en-US" dirty="0"/>
            <a:t>NO SUBSTITUTE!  Do the labs; Azure @ Work</a:t>
          </a:r>
        </a:p>
      </dgm:t>
    </dgm:pt>
    <dgm:pt modelId="{3611B761-3252-4ABE-92E9-3707386656C6}" type="parTrans" cxnId="{35050068-B2A7-49CC-9449-208DB850ACBF}">
      <dgm:prSet/>
      <dgm:spPr/>
      <dgm:t>
        <a:bodyPr/>
        <a:lstStyle/>
        <a:p>
          <a:endParaRPr lang="en-US"/>
        </a:p>
      </dgm:t>
    </dgm:pt>
    <dgm:pt modelId="{0E5956E5-84DF-4328-B34F-BF4AF6BF68EB}" type="sibTrans" cxnId="{35050068-B2A7-49CC-9449-208DB850ACBF}">
      <dgm:prSet/>
      <dgm:spPr/>
      <dgm:t>
        <a:bodyPr/>
        <a:lstStyle/>
        <a:p>
          <a:endParaRPr lang="en-US"/>
        </a:p>
      </dgm:t>
    </dgm:pt>
    <dgm:pt modelId="{8AC4CBA8-E2CD-47D6-B027-D730DEDEE821}">
      <dgm:prSet phldrT="[Text]" custT="1"/>
      <dgm:spPr/>
      <dgm:t>
        <a:bodyPr/>
        <a:lstStyle/>
        <a:p>
          <a:r>
            <a:rPr lang="en-US" sz="2400" b="1" dirty="0"/>
            <a:t>Take the test</a:t>
          </a:r>
        </a:p>
      </dgm:t>
    </dgm:pt>
    <dgm:pt modelId="{AA41EB38-FA59-47E0-BFC6-CEB0E8F922CA}" type="parTrans" cxnId="{E45BB270-A3DC-4494-B9B8-27362430BE8E}">
      <dgm:prSet/>
      <dgm:spPr/>
      <dgm:t>
        <a:bodyPr/>
        <a:lstStyle/>
        <a:p>
          <a:endParaRPr lang="en-US"/>
        </a:p>
      </dgm:t>
    </dgm:pt>
    <dgm:pt modelId="{37DA1E38-AF83-411A-A978-A88E0A169C77}" type="sibTrans" cxnId="{E45BB270-A3DC-4494-B9B8-27362430BE8E}">
      <dgm:prSet/>
      <dgm:spPr/>
      <dgm:t>
        <a:bodyPr/>
        <a:lstStyle/>
        <a:p>
          <a:endParaRPr lang="en-US"/>
        </a:p>
      </dgm:t>
    </dgm:pt>
    <dgm:pt modelId="{CEB37AC2-AECD-4997-B05E-7FF31CAEC308}">
      <dgm:prSet phldrT="[Text]"/>
      <dgm:spPr/>
      <dgm:t>
        <a:bodyPr/>
        <a:lstStyle/>
        <a:p>
          <a:r>
            <a:rPr lang="en-US" dirty="0"/>
            <a:t>2nd shot?  Much easier after you take it because you know where you are weak </a:t>
          </a:r>
          <a:r>
            <a:rPr lang="en-US" dirty="0">
              <a:sym typeface="Wingdings" panose="05000000000000000000" pitchFamily="2" charset="2"/>
            </a:rPr>
            <a:t></a:t>
          </a:r>
          <a:endParaRPr lang="en-US" dirty="0"/>
        </a:p>
      </dgm:t>
    </dgm:pt>
    <dgm:pt modelId="{BBAA8A35-47B6-4E34-94BC-0A135961C797}" type="parTrans" cxnId="{9F7F76AE-9F17-4F3A-9747-4FE13C5AABEE}">
      <dgm:prSet/>
      <dgm:spPr/>
      <dgm:t>
        <a:bodyPr/>
        <a:lstStyle/>
        <a:p>
          <a:endParaRPr lang="en-US"/>
        </a:p>
      </dgm:t>
    </dgm:pt>
    <dgm:pt modelId="{446FEE1D-84E6-4E9C-A86D-042CE49606A4}" type="sibTrans" cxnId="{9F7F76AE-9F17-4F3A-9747-4FE13C5AABEE}">
      <dgm:prSet/>
      <dgm:spPr/>
      <dgm:t>
        <a:bodyPr/>
        <a:lstStyle/>
        <a:p>
          <a:endParaRPr lang="en-US"/>
        </a:p>
      </dgm:t>
    </dgm:pt>
    <dgm:pt modelId="{3D578F43-43FF-4D19-B740-F6A581E0C8BE}">
      <dgm:prSet phldrT="[Text]" custT="1"/>
      <dgm:spPr/>
      <dgm:t>
        <a:bodyPr/>
        <a:lstStyle/>
        <a:p>
          <a:r>
            <a:rPr lang="en-US" sz="2400" b="1" dirty="0"/>
            <a:t>Ultra Focus With Intent</a:t>
          </a:r>
          <a:endParaRPr lang="en-US" sz="2400" dirty="0"/>
        </a:p>
      </dgm:t>
    </dgm:pt>
    <dgm:pt modelId="{B1DF630F-547B-4EED-AA02-BE2637267599}" type="parTrans" cxnId="{B497D373-785B-4371-ADCF-60066E2EEF69}">
      <dgm:prSet/>
      <dgm:spPr/>
      <dgm:t>
        <a:bodyPr/>
        <a:lstStyle/>
        <a:p>
          <a:endParaRPr lang="en-US"/>
        </a:p>
      </dgm:t>
    </dgm:pt>
    <dgm:pt modelId="{4F6E35F7-3B36-4589-9347-3402087CB7B5}" type="sibTrans" cxnId="{B497D373-785B-4371-ADCF-60066E2EEF69}">
      <dgm:prSet/>
      <dgm:spPr/>
      <dgm:t>
        <a:bodyPr/>
        <a:lstStyle/>
        <a:p>
          <a:endParaRPr lang="en-US"/>
        </a:p>
      </dgm:t>
    </dgm:pt>
    <dgm:pt modelId="{424EF410-0D6D-4CAB-A09F-259FF6E93C90}">
      <dgm:prSet phldrT="[Text]"/>
      <dgm:spPr/>
      <dgm:t>
        <a:bodyPr/>
        <a:lstStyle/>
        <a:p>
          <a:r>
            <a:rPr lang="en-US" dirty="0"/>
            <a:t>After you pass the test, you can work on learning more and developing your career</a:t>
          </a:r>
        </a:p>
      </dgm:t>
    </dgm:pt>
    <dgm:pt modelId="{3B90BACB-D786-4972-BC60-54EED162A3DB}" type="parTrans" cxnId="{83100D7F-FAC8-4AD1-A07F-7C51F5EAF413}">
      <dgm:prSet/>
      <dgm:spPr/>
      <dgm:t>
        <a:bodyPr/>
        <a:lstStyle/>
        <a:p>
          <a:endParaRPr lang="en-US"/>
        </a:p>
      </dgm:t>
    </dgm:pt>
    <dgm:pt modelId="{D88EE2D5-3A0C-4636-BAF4-9A7BE70ED44B}" type="sibTrans" cxnId="{83100D7F-FAC8-4AD1-A07F-7C51F5EAF413}">
      <dgm:prSet/>
      <dgm:spPr/>
      <dgm:t>
        <a:bodyPr/>
        <a:lstStyle/>
        <a:p>
          <a:endParaRPr lang="en-US"/>
        </a:p>
      </dgm:t>
    </dgm:pt>
    <dgm:pt modelId="{732E8814-6700-4088-9D4F-79D6EBFE85C8}">
      <dgm:prSet phldrT="[Text]" custT="1"/>
      <dgm:spPr/>
      <dgm:t>
        <a:bodyPr/>
        <a:lstStyle/>
        <a:p>
          <a:r>
            <a:rPr lang="en-US" sz="2400" b="1" dirty="0"/>
            <a:t>Objective – Pass the Exam!</a:t>
          </a:r>
        </a:p>
      </dgm:t>
    </dgm:pt>
    <dgm:pt modelId="{8B9DA1FF-4074-44DF-85F3-C77545F2A4AE}" type="parTrans" cxnId="{CEFAF6A1-4164-4CCB-8FAF-CE5C4AF82038}">
      <dgm:prSet/>
      <dgm:spPr/>
      <dgm:t>
        <a:bodyPr/>
        <a:lstStyle/>
        <a:p>
          <a:endParaRPr lang="en-US"/>
        </a:p>
      </dgm:t>
    </dgm:pt>
    <dgm:pt modelId="{CB4D2896-806E-4DEA-B7E5-B619E601BFA8}" type="sibTrans" cxnId="{CEFAF6A1-4164-4CCB-8FAF-CE5C4AF82038}">
      <dgm:prSet/>
      <dgm:spPr/>
      <dgm:t>
        <a:bodyPr/>
        <a:lstStyle/>
        <a:p>
          <a:endParaRPr lang="en-US"/>
        </a:p>
      </dgm:t>
    </dgm:pt>
    <dgm:pt modelId="{F19C5227-60FB-4070-8A1B-9FFED758FFC3}">
      <dgm:prSet phldrT="[Text]" custT="1"/>
      <dgm:spPr/>
      <dgm:t>
        <a:bodyPr/>
        <a:lstStyle/>
        <a:p>
          <a:r>
            <a:rPr lang="en-US" sz="2400" dirty="0"/>
            <a:t>Don’t let your mind wander; You are on a mission to learn FAST!</a:t>
          </a:r>
        </a:p>
      </dgm:t>
    </dgm:pt>
    <dgm:pt modelId="{1F9B5B3C-CF76-4BA7-B832-778EE1446896}" type="parTrans" cxnId="{2AA95DB5-949B-4B91-954D-DCC7A9D004A9}">
      <dgm:prSet/>
      <dgm:spPr/>
      <dgm:t>
        <a:bodyPr/>
        <a:lstStyle/>
        <a:p>
          <a:endParaRPr lang="en-US"/>
        </a:p>
      </dgm:t>
    </dgm:pt>
    <dgm:pt modelId="{30518D84-5DC1-424B-8C53-F5208825021D}" type="sibTrans" cxnId="{2AA95DB5-949B-4B91-954D-DCC7A9D004A9}">
      <dgm:prSet/>
      <dgm:spPr/>
      <dgm:t>
        <a:bodyPr/>
        <a:lstStyle/>
        <a:p>
          <a:endParaRPr lang="en-US"/>
        </a:p>
      </dgm:t>
    </dgm:pt>
    <dgm:pt modelId="{D62BA736-8055-48B7-9AEE-1C38EEFD8D99}" type="pres">
      <dgm:prSet presAssocID="{C1E66B2B-0469-4ADF-B8EE-9B52D1FC1C7A}" presName="Name0" presStyleCnt="0">
        <dgm:presLayoutVars>
          <dgm:chMax/>
          <dgm:chPref/>
          <dgm:dir/>
        </dgm:presLayoutVars>
      </dgm:prSet>
      <dgm:spPr/>
    </dgm:pt>
    <dgm:pt modelId="{5E6BBCDD-99C4-43A8-BA64-A56493F3455D}" type="pres">
      <dgm:prSet presAssocID="{1D491E77-FA7E-4607-9D49-B7EFA02976DB}" presName="parenttextcomposite" presStyleCnt="0"/>
      <dgm:spPr/>
    </dgm:pt>
    <dgm:pt modelId="{537C5C5C-27BB-4312-8A19-25E7DD9F1A62}" type="pres">
      <dgm:prSet presAssocID="{1D491E77-FA7E-4607-9D49-B7EFA02976DB}" presName="parenttext" presStyleLbl="revTx" presStyleIdx="0" presStyleCnt="4">
        <dgm:presLayoutVars>
          <dgm:chMax/>
          <dgm:chPref val="2"/>
          <dgm:bulletEnabled val="1"/>
        </dgm:presLayoutVars>
      </dgm:prSet>
      <dgm:spPr/>
    </dgm:pt>
    <dgm:pt modelId="{E9AFA4A7-88B6-4239-9A6B-0B1261BA78A2}" type="pres">
      <dgm:prSet presAssocID="{1D491E77-FA7E-4607-9D49-B7EFA02976DB}" presName="composite" presStyleCnt="0"/>
      <dgm:spPr/>
    </dgm:pt>
    <dgm:pt modelId="{85CEC161-112B-4CD9-BE2D-B800BE6F9038}" type="pres">
      <dgm:prSet presAssocID="{1D491E77-FA7E-4607-9D49-B7EFA02976DB}" presName="chevron1" presStyleLbl="alignNode1" presStyleIdx="0" presStyleCnt="28"/>
      <dgm:spPr/>
    </dgm:pt>
    <dgm:pt modelId="{4E4C55E2-1E3C-4A39-8B1E-B93E9CCFB6E4}" type="pres">
      <dgm:prSet presAssocID="{1D491E77-FA7E-4607-9D49-B7EFA02976DB}" presName="chevron2" presStyleLbl="alignNode1" presStyleIdx="1" presStyleCnt="28"/>
      <dgm:spPr/>
    </dgm:pt>
    <dgm:pt modelId="{1DC0FA92-24F1-416E-BEC8-2F209C65A5BB}" type="pres">
      <dgm:prSet presAssocID="{1D491E77-FA7E-4607-9D49-B7EFA02976DB}" presName="chevron3" presStyleLbl="alignNode1" presStyleIdx="2" presStyleCnt="28"/>
      <dgm:spPr/>
    </dgm:pt>
    <dgm:pt modelId="{E8824CA5-4241-4D0C-94FE-2C33A7BAFD19}" type="pres">
      <dgm:prSet presAssocID="{1D491E77-FA7E-4607-9D49-B7EFA02976DB}" presName="chevron4" presStyleLbl="alignNode1" presStyleIdx="3" presStyleCnt="28"/>
      <dgm:spPr/>
    </dgm:pt>
    <dgm:pt modelId="{3F5D18AE-98F0-4802-A2C0-CAC4475A9A66}" type="pres">
      <dgm:prSet presAssocID="{1D491E77-FA7E-4607-9D49-B7EFA02976DB}" presName="chevron5" presStyleLbl="alignNode1" presStyleIdx="4" presStyleCnt="28"/>
      <dgm:spPr/>
    </dgm:pt>
    <dgm:pt modelId="{87A0C9B4-2717-4739-A556-BE89D380298C}" type="pres">
      <dgm:prSet presAssocID="{1D491E77-FA7E-4607-9D49-B7EFA02976DB}" presName="chevron6" presStyleLbl="alignNode1" presStyleIdx="5" presStyleCnt="28"/>
      <dgm:spPr/>
    </dgm:pt>
    <dgm:pt modelId="{48C04F5B-F05F-4623-8534-324141AD2F23}" type="pres">
      <dgm:prSet presAssocID="{1D491E77-FA7E-4607-9D49-B7EFA02976DB}" presName="chevron7" presStyleLbl="alignNode1" presStyleIdx="6" presStyleCnt="28"/>
      <dgm:spPr/>
    </dgm:pt>
    <dgm:pt modelId="{8BC7CC22-1276-4B72-AF5D-7863C6152902}" type="pres">
      <dgm:prSet presAssocID="{1D491E77-FA7E-4607-9D49-B7EFA02976DB}" presName="childtext" presStyleLbl="solidFgAcc1" presStyleIdx="0" presStyleCnt="4">
        <dgm:presLayoutVars>
          <dgm:chMax/>
          <dgm:chPref val="0"/>
          <dgm:bulletEnabled val="1"/>
        </dgm:presLayoutVars>
      </dgm:prSet>
      <dgm:spPr/>
    </dgm:pt>
    <dgm:pt modelId="{71586CC5-07FF-4CD1-BFA9-37F5D0DCAF05}" type="pres">
      <dgm:prSet presAssocID="{A620F812-EEA4-409A-A818-BDB74E99D4DB}" presName="sibTrans" presStyleCnt="0"/>
      <dgm:spPr/>
    </dgm:pt>
    <dgm:pt modelId="{33A5DACF-EB22-4DCB-B70B-4F565AFCF93E}" type="pres">
      <dgm:prSet presAssocID="{8AC4CBA8-E2CD-47D6-B027-D730DEDEE821}" presName="parenttextcomposite" presStyleCnt="0"/>
      <dgm:spPr/>
    </dgm:pt>
    <dgm:pt modelId="{9722DE8D-AF8E-48CB-BCFE-4B949D8CFB9B}" type="pres">
      <dgm:prSet presAssocID="{8AC4CBA8-E2CD-47D6-B027-D730DEDEE821}" presName="parenttext" presStyleLbl="revTx" presStyleIdx="1" presStyleCnt="4">
        <dgm:presLayoutVars>
          <dgm:chMax/>
          <dgm:chPref val="2"/>
          <dgm:bulletEnabled val="1"/>
        </dgm:presLayoutVars>
      </dgm:prSet>
      <dgm:spPr/>
    </dgm:pt>
    <dgm:pt modelId="{15F95FC2-8F17-47C9-935E-3FE2182BA46F}" type="pres">
      <dgm:prSet presAssocID="{8AC4CBA8-E2CD-47D6-B027-D730DEDEE821}" presName="composite" presStyleCnt="0"/>
      <dgm:spPr/>
    </dgm:pt>
    <dgm:pt modelId="{CCDC95B0-206D-4A5C-8336-4AB3EB6ED06C}" type="pres">
      <dgm:prSet presAssocID="{8AC4CBA8-E2CD-47D6-B027-D730DEDEE821}" presName="chevron1" presStyleLbl="alignNode1" presStyleIdx="7" presStyleCnt="28"/>
      <dgm:spPr/>
    </dgm:pt>
    <dgm:pt modelId="{4C38F071-683F-44DE-A835-C50D11088D7D}" type="pres">
      <dgm:prSet presAssocID="{8AC4CBA8-E2CD-47D6-B027-D730DEDEE821}" presName="chevron2" presStyleLbl="alignNode1" presStyleIdx="8" presStyleCnt="28"/>
      <dgm:spPr/>
    </dgm:pt>
    <dgm:pt modelId="{5BBA42FF-F4B6-4FC2-86B6-EFC2F086D1BE}" type="pres">
      <dgm:prSet presAssocID="{8AC4CBA8-E2CD-47D6-B027-D730DEDEE821}" presName="chevron3" presStyleLbl="alignNode1" presStyleIdx="9" presStyleCnt="28"/>
      <dgm:spPr/>
    </dgm:pt>
    <dgm:pt modelId="{9543A743-7FF4-450B-8E6E-B4E1EF929D2B}" type="pres">
      <dgm:prSet presAssocID="{8AC4CBA8-E2CD-47D6-B027-D730DEDEE821}" presName="chevron4" presStyleLbl="alignNode1" presStyleIdx="10" presStyleCnt="28"/>
      <dgm:spPr/>
    </dgm:pt>
    <dgm:pt modelId="{1759E5F4-204D-4A17-B0E7-445210005D14}" type="pres">
      <dgm:prSet presAssocID="{8AC4CBA8-E2CD-47D6-B027-D730DEDEE821}" presName="chevron5" presStyleLbl="alignNode1" presStyleIdx="11" presStyleCnt="28"/>
      <dgm:spPr/>
    </dgm:pt>
    <dgm:pt modelId="{B0D2D155-8B61-4099-9F77-1278418DC8EB}" type="pres">
      <dgm:prSet presAssocID="{8AC4CBA8-E2CD-47D6-B027-D730DEDEE821}" presName="chevron6" presStyleLbl="alignNode1" presStyleIdx="12" presStyleCnt="28"/>
      <dgm:spPr/>
    </dgm:pt>
    <dgm:pt modelId="{C9BACA11-FBD8-4580-BC14-313A0075ECE0}" type="pres">
      <dgm:prSet presAssocID="{8AC4CBA8-E2CD-47D6-B027-D730DEDEE821}" presName="chevron7" presStyleLbl="alignNode1" presStyleIdx="13" presStyleCnt="28"/>
      <dgm:spPr/>
    </dgm:pt>
    <dgm:pt modelId="{538DE373-4C16-43BA-8630-85A0426EFAB9}" type="pres">
      <dgm:prSet presAssocID="{8AC4CBA8-E2CD-47D6-B027-D730DEDEE821}" presName="childtext" presStyleLbl="solidFgAcc1" presStyleIdx="1" presStyleCnt="4">
        <dgm:presLayoutVars>
          <dgm:chMax/>
          <dgm:chPref val="0"/>
          <dgm:bulletEnabled val="1"/>
        </dgm:presLayoutVars>
      </dgm:prSet>
      <dgm:spPr/>
    </dgm:pt>
    <dgm:pt modelId="{C7E779AA-0437-4DDA-B6BD-BD62CC3CC875}" type="pres">
      <dgm:prSet presAssocID="{37DA1E38-AF83-411A-A978-A88E0A169C77}" presName="sibTrans" presStyleCnt="0"/>
      <dgm:spPr/>
    </dgm:pt>
    <dgm:pt modelId="{EFE30786-5A23-4723-A46F-F9B3E0287054}" type="pres">
      <dgm:prSet presAssocID="{3D578F43-43FF-4D19-B740-F6A581E0C8BE}" presName="parenttextcomposite" presStyleCnt="0"/>
      <dgm:spPr/>
    </dgm:pt>
    <dgm:pt modelId="{33546F62-5B4D-463E-A629-8D7CB5443E0A}" type="pres">
      <dgm:prSet presAssocID="{3D578F43-43FF-4D19-B740-F6A581E0C8BE}" presName="parenttext" presStyleLbl="revTx" presStyleIdx="2" presStyleCnt="4">
        <dgm:presLayoutVars>
          <dgm:chMax/>
          <dgm:chPref val="2"/>
          <dgm:bulletEnabled val="1"/>
        </dgm:presLayoutVars>
      </dgm:prSet>
      <dgm:spPr/>
    </dgm:pt>
    <dgm:pt modelId="{0A71C340-640E-4052-856F-42BD7A95EF1A}" type="pres">
      <dgm:prSet presAssocID="{3D578F43-43FF-4D19-B740-F6A581E0C8BE}" presName="composite" presStyleCnt="0"/>
      <dgm:spPr/>
    </dgm:pt>
    <dgm:pt modelId="{0429CF0C-436E-4B08-9AAE-0B6DC525767F}" type="pres">
      <dgm:prSet presAssocID="{3D578F43-43FF-4D19-B740-F6A581E0C8BE}" presName="chevron1" presStyleLbl="alignNode1" presStyleIdx="14" presStyleCnt="28"/>
      <dgm:spPr/>
    </dgm:pt>
    <dgm:pt modelId="{E146A7FC-A51E-4B6C-86BD-5A26735B215D}" type="pres">
      <dgm:prSet presAssocID="{3D578F43-43FF-4D19-B740-F6A581E0C8BE}" presName="chevron2" presStyleLbl="alignNode1" presStyleIdx="15" presStyleCnt="28"/>
      <dgm:spPr/>
    </dgm:pt>
    <dgm:pt modelId="{E8101A80-B9DF-4179-B688-E50E5B58A390}" type="pres">
      <dgm:prSet presAssocID="{3D578F43-43FF-4D19-B740-F6A581E0C8BE}" presName="chevron3" presStyleLbl="alignNode1" presStyleIdx="16" presStyleCnt="28"/>
      <dgm:spPr/>
    </dgm:pt>
    <dgm:pt modelId="{EEA59DE8-62E1-4EFF-BC01-ED85D5DB50DC}" type="pres">
      <dgm:prSet presAssocID="{3D578F43-43FF-4D19-B740-F6A581E0C8BE}" presName="chevron4" presStyleLbl="alignNode1" presStyleIdx="17" presStyleCnt="28"/>
      <dgm:spPr/>
    </dgm:pt>
    <dgm:pt modelId="{81197D27-422E-4928-AC01-1C9A400C1613}" type="pres">
      <dgm:prSet presAssocID="{3D578F43-43FF-4D19-B740-F6A581E0C8BE}" presName="chevron5" presStyleLbl="alignNode1" presStyleIdx="18" presStyleCnt="28"/>
      <dgm:spPr/>
    </dgm:pt>
    <dgm:pt modelId="{5C0977BD-C1B3-464B-A9FB-0F547B90C9A4}" type="pres">
      <dgm:prSet presAssocID="{3D578F43-43FF-4D19-B740-F6A581E0C8BE}" presName="chevron6" presStyleLbl="alignNode1" presStyleIdx="19" presStyleCnt="28"/>
      <dgm:spPr/>
    </dgm:pt>
    <dgm:pt modelId="{704ED82B-3A30-4462-BB06-88779C06DE10}" type="pres">
      <dgm:prSet presAssocID="{3D578F43-43FF-4D19-B740-F6A581E0C8BE}" presName="chevron7" presStyleLbl="alignNode1" presStyleIdx="20" presStyleCnt="28"/>
      <dgm:spPr/>
    </dgm:pt>
    <dgm:pt modelId="{D91ADDC0-7DD6-40BD-A435-6119E05C0184}" type="pres">
      <dgm:prSet presAssocID="{3D578F43-43FF-4D19-B740-F6A581E0C8BE}" presName="childtext" presStyleLbl="solidFgAcc1" presStyleIdx="2" presStyleCnt="4">
        <dgm:presLayoutVars>
          <dgm:chMax/>
          <dgm:chPref val="0"/>
          <dgm:bulletEnabled val="1"/>
        </dgm:presLayoutVars>
      </dgm:prSet>
      <dgm:spPr/>
    </dgm:pt>
    <dgm:pt modelId="{F92F676B-245D-47A4-A272-41C44CA8F3D8}" type="pres">
      <dgm:prSet presAssocID="{4F6E35F7-3B36-4589-9347-3402087CB7B5}" presName="sibTrans" presStyleCnt="0"/>
      <dgm:spPr/>
    </dgm:pt>
    <dgm:pt modelId="{4A7AF770-CE21-4761-BBA7-2EB1F597C5B3}" type="pres">
      <dgm:prSet presAssocID="{732E8814-6700-4088-9D4F-79D6EBFE85C8}" presName="parenttextcomposite" presStyleCnt="0"/>
      <dgm:spPr/>
    </dgm:pt>
    <dgm:pt modelId="{F4F5E702-F8AF-4476-A9BE-16E6B315C8D3}" type="pres">
      <dgm:prSet presAssocID="{732E8814-6700-4088-9D4F-79D6EBFE85C8}" presName="parenttext" presStyleLbl="revTx" presStyleIdx="3" presStyleCnt="4">
        <dgm:presLayoutVars>
          <dgm:chMax/>
          <dgm:chPref val="2"/>
          <dgm:bulletEnabled val="1"/>
        </dgm:presLayoutVars>
      </dgm:prSet>
      <dgm:spPr/>
    </dgm:pt>
    <dgm:pt modelId="{044FBE1B-4042-4B74-A295-BE8751F9C6AF}" type="pres">
      <dgm:prSet presAssocID="{732E8814-6700-4088-9D4F-79D6EBFE85C8}" presName="composite" presStyleCnt="0"/>
      <dgm:spPr/>
    </dgm:pt>
    <dgm:pt modelId="{847370B5-C8A8-4175-BFBC-900745DC9F55}" type="pres">
      <dgm:prSet presAssocID="{732E8814-6700-4088-9D4F-79D6EBFE85C8}" presName="chevron1" presStyleLbl="alignNode1" presStyleIdx="21" presStyleCnt="28"/>
      <dgm:spPr/>
    </dgm:pt>
    <dgm:pt modelId="{BB4FF437-077E-435A-B4EB-74479F49352A}" type="pres">
      <dgm:prSet presAssocID="{732E8814-6700-4088-9D4F-79D6EBFE85C8}" presName="chevron2" presStyleLbl="alignNode1" presStyleIdx="22" presStyleCnt="28"/>
      <dgm:spPr/>
    </dgm:pt>
    <dgm:pt modelId="{91506A7C-0125-4D40-8134-3F5BCEF44072}" type="pres">
      <dgm:prSet presAssocID="{732E8814-6700-4088-9D4F-79D6EBFE85C8}" presName="chevron3" presStyleLbl="alignNode1" presStyleIdx="23" presStyleCnt="28"/>
      <dgm:spPr/>
    </dgm:pt>
    <dgm:pt modelId="{459EAB88-F255-4BDE-AA3F-10155F959255}" type="pres">
      <dgm:prSet presAssocID="{732E8814-6700-4088-9D4F-79D6EBFE85C8}" presName="chevron4" presStyleLbl="alignNode1" presStyleIdx="24" presStyleCnt="28"/>
      <dgm:spPr/>
    </dgm:pt>
    <dgm:pt modelId="{5FAEC293-28B9-4F39-BB7E-A69C5BACE444}" type="pres">
      <dgm:prSet presAssocID="{732E8814-6700-4088-9D4F-79D6EBFE85C8}" presName="chevron5" presStyleLbl="alignNode1" presStyleIdx="25" presStyleCnt="28"/>
      <dgm:spPr/>
    </dgm:pt>
    <dgm:pt modelId="{8EADE5D5-3BD7-4189-BCB0-C41B7B458231}" type="pres">
      <dgm:prSet presAssocID="{732E8814-6700-4088-9D4F-79D6EBFE85C8}" presName="chevron6" presStyleLbl="alignNode1" presStyleIdx="26" presStyleCnt="28"/>
      <dgm:spPr/>
    </dgm:pt>
    <dgm:pt modelId="{2A0170BA-0FE0-470F-9347-114A5FDA8CED}" type="pres">
      <dgm:prSet presAssocID="{732E8814-6700-4088-9D4F-79D6EBFE85C8}" presName="chevron7" presStyleLbl="alignNode1" presStyleIdx="27" presStyleCnt="28"/>
      <dgm:spPr/>
    </dgm:pt>
    <dgm:pt modelId="{D9A8A92A-21B6-4EEF-9E0D-938E2818B0AB}" type="pres">
      <dgm:prSet presAssocID="{732E8814-6700-4088-9D4F-79D6EBFE85C8}" presName="childtext" presStyleLbl="solidFgAcc1" presStyleIdx="3" presStyleCnt="4">
        <dgm:presLayoutVars>
          <dgm:chMax/>
          <dgm:chPref val="0"/>
          <dgm:bulletEnabled val="1"/>
        </dgm:presLayoutVars>
      </dgm:prSet>
      <dgm:spPr/>
    </dgm:pt>
  </dgm:ptLst>
  <dgm:cxnLst>
    <dgm:cxn modelId="{DCE03E08-3DA1-4D4D-8139-DBE9662BC2F1}" type="presOf" srcId="{424EF410-0D6D-4CAB-A09F-259FF6E93C90}" destId="{D9A8A92A-21B6-4EEF-9E0D-938E2818B0AB}" srcOrd="0" destOrd="0" presId="urn:microsoft.com/office/officeart/2008/layout/VerticalAccentList"/>
    <dgm:cxn modelId="{333C9320-6649-425C-B542-C30822266669}" type="presOf" srcId="{1D491E77-FA7E-4607-9D49-B7EFA02976DB}" destId="{537C5C5C-27BB-4312-8A19-25E7DD9F1A62}" srcOrd="0" destOrd="0" presId="urn:microsoft.com/office/officeart/2008/layout/VerticalAccentList"/>
    <dgm:cxn modelId="{E1B48328-774B-4E15-AECB-07653BD8AD87}" srcId="{C1E66B2B-0469-4ADF-B8EE-9B52D1FC1C7A}" destId="{1D491E77-FA7E-4607-9D49-B7EFA02976DB}" srcOrd="0" destOrd="0" parTransId="{D545B7AD-FFA0-4148-BC74-FB3E691A2E09}" sibTransId="{A620F812-EEA4-409A-A818-BDB74E99D4DB}"/>
    <dgm:cxn modelId="{A50E8C32-71E9-41B1-9074-6904EC693C2F}" type="presOf" srcId="{CEB37AC2-AECD-4997-B05E-7FF31CAEC308}" destId="{538DE373-4C16-43BA-8630-85A0426EFAB9}" srcOrd="0" destOrd="0" presId="urn:microsoft.com/office/officeart/2008/layout/VerticalAccentList"/>
    <dgm:cxn modelId="{F2AAE033-E06D-4B28-804A-FCA192BD00A7}" type="presOf" srcId="{F19C5227-60FB-4070-8A1B-9FFED758FFC3}" destId="{D91ADDC0-7DD6-40BD-A435-6119E05C0184}" srcOrd="0" destOrd="0" presId="urn:microsoft.com/office/officeart/2008/layout/VerticalAccentList"/>
    <dgm:cxn modelId="{A1E55F37-01DE-403D-B2E6-C9687A462391}" type="presOf" srcId="{8AC4CBA8-E2CD-47D6-B027-D730DEDEE821}" destId="{9722DE8D-AF8E-48CB-BCFE-4B949D8CFB9B}" srcOrd="0" destOrd="0" presId="urn:microsoft.com/office/officeart/2008/layout/VerticalAccentList"/>
    <dgm:cxn modelId="{86706467-6230-4F70-8C02-F9CBFF6B4184}" type="presOf" srcId="{732E8814-6700-4088-9D4F-79D6EBFE85C8}" destId="{F4F5E702-F8AF-4476-A9BE-16E6B315C8D3}" srcOrd="0" destOrd="0" presId="urn:microsoft.com/office/officeart/2008/layout/VerticalAccentList"/>
    <dgm:cxn modelId="{35050068-B2A7-49CC-9449-208DB850ACBF}" srcId="{1D491E77-FA7E-4607-9D49-B7EFA02976DB}" destId="{E5B1F756-9FCC-4BB4-BECC-34CE4005FF03}" srcOrd="0" destOrd="0" parTransId="{3611B761-3252-4ABE-92E9-3707386656C6}" sibTransId="{0E5956E5-84DF-4328-B34F-BF4AF6BF68EB}"/>
    <dgm:cxn modelId="{E45BB270-A3DC-4494-B9B8-27362430BE8E}" srcId="{C1E66B2B-0469-4ADF-B8EE-9B52D1FC1C7A}" destId="{8AC4CBA8-E2CD-47D6-B027-D730DEDEE821}" srcOrd="1" destOrd="0" parTransId="{AA41EB38-FA59-47E0-BFC6-CEB0E8F922CA}" sibTransId="{37DA1E38-AF83-411A-A978-A88E0A169C77}"/>
    <dgm:cxn modelId="{B497D373-785B-4371-ADCF-60066E2EEF69}" srcId="{C1E66B2B-0469-4ADF-B8EE-9B52D1FC1C7A}" destId="{3D578F43-43FF-4D19-B740-F6A581E0C8BE}" srcOrd="2" destOrd="0" parTransId="{B1DF630F-547B-4EED-AA02-BE2637267599}" sibTransId="{4F6E35F7-3B36-4589-9347-3402087CB7B5}"/>
    <dgm:cxn modelId="{83100D7F-FAC8-4AD1-A07F-7C51F5EAF413}" srcId="{732E8814-6700-4088-9D4F-79D6EBFE85C8}" destId="{424EF410-0D6D-4CAB-A09F-259FF6E93C90}" srcOrd="0" destOrd="0" parTransId="{3B90BACB-D786-4972-BC60-54EED162A3DB}" sibTransId="{D88EE2D5-3A0C-4636-BAF4-9A7BE70ED44B}"/>
    <dgm:cxn modelId="{CEFAF6A1-4164-4CCB-8FAF-CE5C4AF82038}" srcId="{C1E66B2B-0469-4ADF-B8EE-9B52D1FC1C7A}" destId="{732E8814-6700-4088-9D4F-79D6EBFE85C8}" srcOrd="3" destOrd="0" parTransId="{8B9DA1FF-4074-44DF-85F3-C77545F2A4AE}" sibTransId="{CB4D2896-806E-4DEA-B7E5-B619E601BFA8}"/>
    <dgm:cxn modelId="{9F7F76AE-9F17-4F3A-9747-4FE13C5AABEE}" srcId="{8AC4CBA8-E2CD-47D6-B027-D730DEDEE821}" destId="{CEB37AC2-AECD-4997-B05E-7FF31CAEC308}" srcOrd="0" destOrd="0" parTransId="{BBAA8A35-47B6-4E34-94BC-0A135961C797}" sibTransId="{446FEE1D-84E6-4E9C-A86D-042CE49606A4}"/>
    <dgm:cxn modelId="{2AA95DB5-949B-4B91-954D-DCC7A9D004A9}" srcId="{3D578F43-43FF-4D19-B740-F6A581E0C8BE}" destId="{F19C5227-60FB-4070-8A1B-9FFED758FFC3}" srcOrd="0" destOrd="0" parTransId="{1F9B5B3C-CF76-4BA7-B832-778EE1446896}" sibTransId="{30518D84-5DC1-424B-8C53-F5208825021D}"/>
    <dgm:cxn modelId="{5E18C8BC-07E8-4368-B43B-562C914FA7E9}" type="presOf" srcId="{3D578F43-43FF-4D19-B740-F6A581E0C8BE}" destId="{33546F62-5B4D-463E-A629-8D7CB5443E0A}" srcOrd="0" destOrd="0" presId="urn:microsoft.com/office/officeart/2008/layout/VerticalAccentList"/>
    <dgm:cxn modelId="{E77E87CF-2F10-4E3D-88D1-2C95515198CD}" type="presOf" srcId="{C1E66B2B-0469-4ADF-B8EE-9B52D1FC1C7A}" destId="{D62BA736-8055-48B7-9AEE-1C38EEFD8D99}" srcOrd="0" destOrd="0" presId="urn:microsoft.com/office/officeart/2008/layout/VerticalAccentList"/>
    <dgm:cxn modelId="{F2590FDB-36FD-4B30-A03C-DCC54BCC9161}" type="presOf" srcId="{E5B1F756-9FCC-4BB4-BECC-34CE4005FF03}" destId="{8BC7CC22-1276-4B72-AF5D-7863C6152902}" srcOrd="0" destOrd="0" presId="urn:microsoft.com/office/officeart/2008/layout/VerticalAccentList"/>
    <dgm:cxn modelId="{C67CDB29-7F0B-486E-A71A-B08FF007E4CC}" type="presParOf" srcId="{D62BA736-8055-48B7-9AEE-1C38EEFD8D99}" destId="{5E6BBCDD-99C4-43A8-BA64-A56493F3455D}" srcOrd="0" destOrd="0" presId="urn:microsoft.com/office/officeart/2008/layout/VerticalAccentList"/>
    <dgm:cxn modelId="{73656715-FD4C-4FEE-AF90-E51BC538017C}" type="presParOf" srcId="{5E6BBCDD-99C4-43A8-BA64-A56493F3455D}" destId="{537C5C5C-27BB-4312-8A19-25E7DD9F1A62}" srcOrd="0" destOrd="0" presId="urn:microsoft.com/office/officeart/2008/layout/VerticalAccentList"/>
    <dgm:cxn modelId="{524B3E9C-8F6B-4244-832A-E8EDF95C3EA0}" type="presParOf" srcId="{D62BA736-8055-48B7-9AEE-1C38EEFD8D99}" destId="{E9AFA4A7-88B6-4239-9A6B-0B1261BA78A2}" srcOrd="1" destOrd="0" presId="urn:microsoft.com/office/officeart/2008/layout/VerticalAccentList"/>
    <dgm:cxn modelId="{7A18BCDE-8756-48CE-B2F6-9BE38718A76A}" type="presParOf" srcId="{E9AFA4A7-88B6-4239-9A6B-0B1261BA78A2}" destId="{85CEC161-112B-4CD9-BE2D-B800BE6F9038}" srcOrd="0" destOrd="0" presId="urn:microsoft.com/office/officeart/2008/layout/VerticalAccentList"/>
    <dgm:cxn modelId="{4F6573DA-0C8C-4CA6-9E05-4AF10CF2829F}" type="presParOf" srcId="{E9AFA4A7-88B6-4239-9A6B-0B1261BA78A2}" destId="{4E4C55E2-1E3C-4A39-8B1E-B93E9CCFB6E4}" srcOrd="1" destOrd="0" presId="urn:microsoft.com/office/officeart/2008/layout/VerticalAccentList"/>
    <dgm:cxn modelId="{4F6A47C5-2A52-40ED-95E6-272FB5834993}" type="presParOf" srcId="{E9AFA4A7-88B6-4239-9A6B-0B1261BA78A2}" destId="{1DC0FA92-24F1-416E-BEC8-2F209C65A5BB}" srcOrd="2" destOrd="0" presId="urn:microsoft.com/office/officeart/2008/layout/VerticalAccentList"/>
    <dgm:cxn modelId="{C869280D-681D-4640-8AF6-4CAAE6BF179F}" type="presParOf" srcId="{E9AFA4A7-88B6-4239-9A6B-0B1261BA78A2}" destId="{E8824CA5-4241-4D0C-94FE-2C33A7BAFD19}" srcOrd="3" destOrd="0" presId="urn:microsoft.com/office/officeart/2008/layout/VerticalAccentList"/>
    <dgm:cxn modelId="{7DDFA533-244D-4197-99B8-5CA7EF2C4D04}" type="presParOf" srcId="{E9AFA4A7-88B6-4239-9A6B-0B1261BA78A2}" destId="{3F5D18AE-98F0-4802-A2C0-CAC4475A9A66}" srcOrd="4" destOrd="0" presId="urn:microsoft.com/office/officeart/2008/layout/VerticalAccentList"/>
    <dgm:cxn modelId="{CA63E9D1-A3F3-49CE-A007-A74F6D0E71CC}" type="presParOf" srcId="{E9AFA4A7-88B6-4239-9A6B-0B1261BA78A2}" destId="{87A0C9B4-2717-4739-A556-BE89D380298C}" srcOrd="5" destOrd="0" presId="urn:microsoft.com/office/officeart/2008/layout/VerticalAccentList"/>
    <dgm:cxn modelId="{69E8596E-F5A9-4F71-ACA8-62F1FDE5A6D0}" type="presParOf" srcId="{E9AFA4A7-88B6-4239-9A6B-0B1261BA78A2}" destId="{48C04F5B-F05F-4623-8534-324141AD2F23}" srcOrd="6" destOrd="0" presId="urn:microsoft.com/office/officeart/2008/layout/VerticalAccentList"/>
    <dgm:cxn modelId="{B2B850E5-68BC-4EC0-AFE0-A4B26E66FB1D}" type="presParOf" srcId="{E9AFA4A7-88B6-4239-9A6B-0B1261BA78A2}" destId="{8BC7CC22-1276-4B72-AF5D-7863C6152902}" srcOrd="7" destOrd="0" presId="urn:microsoft.com/office/officeart/2008/layout/VerticalAccentList"/>
    <dgm:cxn modelId="{2215F624-172A-45D1-94EA-40208BEF5007}" type="presParOf" srcId="{D62BA736-8055-48B7-9AEE-1C38EEFD8D99}" destId="{71586CC5-07FF-4CD1-BFA9-37F5D0DCAF05}" srcOrd="2" destOrd="0" presId="urn:microsoft.com/office/officeart/2008/layout/VerticalAccentList"/>
    <dgm:cxn modelId="{232E4CBF-3F63-4E92-A8D7-4096813E4D4D}" type="presParOf" srcId="{D62BA736-8055-48B7-9AEE-1C38EEFD8D99}" destId="{33A5DACF-EB22-4DCB-B70B-4F565AFCF93E}" srcOrd="3" destOrd="0" presId="urn:microsoft.com/office/officeart/2008/layout/VerticalAccentList"/>
    <dgm:cxn modelId="{211A27CF-96DC-42C8-8E4F-2D819B1C3A7A}" type="presParOf" srcId="{33A5DACF-EB22-4DCB-B70B-4F565AFCF93E}" destId="{9722DE8D-AF8E-48CB-BCFE-4B949D8CFB9B}" srcOrd="0" destOrd="0" presId="urn:microsoft.com/office/officeart/2008/layout/VerticalAccentList"/>
    <dgm:cxn modelId="{CEB9F445-8D5D-46B1-B065-06066D47B63E}" type="presParOf" srcId="{D62BA736-8055-48B7-9AEE-1C38EEFD8D99}" destId="{15F95FC2-8F17-47C9-935E-3FE2182BA46F}" srcOrd="4" destOrd="0" presId="urn:microsoft.com/office/officeart/2008/layout/VerticalAccentList"/>
    <dgm:cxn modelId="{6FA2D4B6-3C10-4B67-8AD2-5CA7D065D38A}" type="presParOf" srcId="{15F95FC2-8F17-47C9-935E-3FE2182BA46F}" destId="{CCDC95B0-206D-4A5C-8336-4AB3EB6ED06C}" srcOrd="0" destOrd="0" presId="urn:microsoft.com/office/officeart/2008/layout/VerticalAccentList"/>
    <dgm:cxn modelId="{75610EA7-F748-4221-9961-952655DC9076}" type="presParOf" srcId="{15F95FC2-8F17-47C9-935E-3FE2182BA46F}" destId="{4C38F071-683F-44DE-A835-C50D11088D7D}" srcOrd="1" destOrd="0" presId="urn:microsoft.com/office/officeart/2008/layout/VerticalAccentList"/>
    <dgm:cxn modelId="{6642619B-5606-4B7A-B4E2-7D7D992A766B}" type="presParOf" srcId="{15F95FC2-8F17-47C9-935E-3FE2182BA46F}" destId="{5BBA42FF-F4B6-4FC2-86B6-EFC2F086D1BE}" srcOrd="2" destOrd="0" presId="urn:microsoft.com/office/officeart/2008/layout/VerticalAccentList"/>
    <dgm:cxn modelId="{DC21226B-67BB-4F9D-93D6-7BFEB74E8ED8}" type="presParOf" srcId="{15F95FC2-8F17-47C9-935E-3FE2182BA46F}" destId="{9543A743-7FF4-450B-8E6E-B4E1EF929D2B}" srcOrd="3" destOrd="0" presId="urn:microsoft.com/office/officeart/2008/layout/VerticalAccentList"/>
    <dgm:cxn modelId="{F8D37D6B-A513-4F3E-8688-6917C96C75FD}" type="presParOf" srcId="{15F95FC2-8F17-47C9-935E-3FE2182BA46F}" destId="{1759E5F4-204D-4A17-B0E7-445210005D14}" srcOrd="4" destOrd="0" presId="urn:microsoft.com/office/officeart/2008/layout/VerticalAccentList"/>
    <dgm:cxn modelId="{FFB34044-2919-4AD6-B58F-993AFD541FAA}" type="presParOf" srcId="{15F95FC2-8F17-47C9-935E-3FE2182BA46F}" destId="{B0D2D155-8B61-4099-9F77-1278418DC8EB}" srcOrd="5" destOrd="0" presId="urn:microsoft.com/office/officeart/2008/layout/VerticalAccentList"/>
    <dgm:cxn modelId="{E2735A5E-6FD6-4826-A03A-1F73FDC43DA9}" type="presParOf" srcId="{15F95FC2-8F17-47C9-935E-3FE2182BA46F}" destId="{C9BACA11-FBD8-4580-BC14-313A0075ECE0}" srcOrd="6" destOrd="0" presId="urn:microsoft.com/office/officeart/2008/layout/VerticalAccentList"/>
    <dgm:cxn modelId="{A035413C-3DC7-40BD-873A-067ABD3C79E1}" type="presParOf" srcId="{15F95FC2-8F17-47C9-935E-3FE2182BA46F}" destId="{538DE373-4C16-43BA-8630-85A0426EFAB9}" srcOrd="7" destOrd="0" presId="urn:microsoft.com/office/officeart/2008/layout/VerticalAccentList"/>
    <dgm:cxn modelId="{090105D1-5E58-4700-B88C-A56FEA41379B}" type="presParOf" srcId="{D62BA736-8055-48B7-9AEE-1C38EEFD8D99}" destId="{C7E779AA-0437-4DDA-B6BD-BD62CC3CC875}" srcOrd="5" destOrd="0" presId="urn:microsoft.com/office/officeart/2008/layout/VerticalAccentList"/>
    <dgm:cxn modelId="{54A5A162-CC62-4873-9752-65ACE733B967}" type="presParOf" srcId="{D62BA736-8055-48B7-9AEE-1C38EEFD8D99}" destId="{EFE30786-5A23-4723-A46F-F9B3E0287054}" srcOrd="6" destOrd="0" presId="urn:microsoft.com/office/officeart/2008/layout/VerticalAccentList"/>
    <dgm:cxn modelId="{F8F42F8E-0EAF-4BD5-8761-C27AA6B97521}" type="presParOf" srcId="{EFE30786-5A23-4723-A46F-F9B3E0287054}" destId="{33546F62-5B4D-463E-A629-8D7CB5443E0A}" srcOrd="0" destOrd="0" presId="urn:microsoft.com/office/officeart/2008/layout/VerticalAccentList"/>
    <dgm:cxn modelId="{63FF4DA8-D99C-4C2F-800F-0FDCFDECE239}" type="presParOf" srcId="{D62BA736-8055-48B7-9AEE-1C38EEFD8D99}" destId="{0A71C340-640E-4052-856F-42BD7A95EF1A}" srcOrd="7" destOrd="0" presId="urn:microsoft.com/office/officeart/2008/layout/VerticalAccentList"/>
    <dgm:cxn modelId="{9AF80497-0704-4608-B91E-EE7CB2F46FA5}" type="presParOf" srcId="{0A71C340-640E-4052-856F-42BD7A95EF1A}" destId="{0429CF0C-436E-4B08-9AAE-0B6DC525767F}" srcOrd="0" destOrd="0" presId="urn:microsoft.com/office/officeart/2008/layout/VerticalAccentList"/>
    <dgm:cxn modelId="{D02AE98F-84CA-4152-8E51-30A399CD59EF}" type="presParOf" srcId="{0A71C340-640E-4052-856F-42BD7A95EF1A}" destId="{E146A7FC-A51E-4B6C-86BD-5A26735B215D}" srcOrd="1" destOrd="0" presId="urn:microsoft.com/office/officeart/2008/layout/VerticalAccentList"/>
    <dgm:cxn modelId="{7188A9C3-CC0C-424F-9F1A-A033A0F669CC}" type="presParOf" srcId="{0A71C340-640E-4052-856F-42BD7A95EF1A}" destId="{E8101A80-B9DF-4179-B688-E50E5B58A390}" srcOrd="2" destOrd="0" presId="urn:microsoft.com/office/officeart/2008/layout/VerticalAccentList"/>
    <dgm:cxn modelId="{D62DDCBF-A4B9-44A1-94ED-0DE83EA3B576}" type="presParOf" srcId="{0A71C340-640E-4052-856F-42BD7A95EF1A}" destId="{EEA59DE8-62E1-4EFF-BC01-ED85D5DB50DC}" srcOrd="3" destOrd="0" presId="urn:microsoft.com/office/officeart/2008/layout/VerticalAccentList"/>
    <dgm:cxn modelId="{916018BF-53D0-4E3F-A065-0A76277C63A9}" type="presParOf" srcId="{0A71C340-640E-4052-856F-42BD7A95EF1A}" destId="{81197D27-422E-4928-AC01-1C9A400C1613}" srcOrd="4" destOrd="0" presId="urn:microsoft.com/office/officeart/2008/layout/VerticalAccentList"/>
    <dgm:cxn modelId="{FBE0817E-3B1A-41C0-AB75-68CBE4694DA4}" type="presParOf" srcId="{0A71C340-640E-4052-856F-42BD7A95EF1A}" destId="{5C0977BD-C1B3-464B-A9FB-0F547B90C9A4}" srcOrd="5" destOrd="0" presId="urn:microsoft.com/office/officeart/2008/layout/VerticalAccentList"/>
    <dgm:cxn modelId="{C12FC0A0-C27D-4D37-97C9-671E384331FB}" type="presParOf" srcId="{0A71C340-640E-4052-856F-42BD7A95EF1A}" destId="{704ED82B-3A30-4462-BB06-88779C06DE10}" srcOrd="6" destOrd="0" presId="urn:microsoft.com/office/officeart/2008/layout/VerticalAccentList"/>
    <dgm:cxn modelId="{81AF7AB0-1E8D-4D3A-ACDB-9E0609BFB0E6}" type="presParOf" srcId="{0A71C340-640E-4052-856F-42BD7A95EF1A}" destId="{D91ADDC0-7DD6-40BD-A435-6119E05C0184}" srcOrd="7" destOrd="0" presId="urn:microsoft.com/office/officeart/2008/layout/VerticalAccentList"/>
    <dgm:cxn modelId="{CE40FD3F-8CCE-4986-BE57-3317D641DA76}" type="presParOf" srcId="{D62BA736-8055-48B7-9AEE-1C38EEFD8D99}" destId="{F92F676B-245D-47A4-A272-41C44CA8F3D8}" srcOrd="8" destOrd="0" presId="urn:microsoft.com/office/officeart/2008/layout/VerticalAccentList"/>
    <dgm:cxn modelId="{FF95763D-23D2-4033-9FFB-2EB8F482177E}" type="presParOf" srcId="{D62BA736-8055-48B7-9AEE-1C38EEFD8D99}" destId="{4A7AF770-CE21-4761-BBA7-2EB1F597C5B3}" srcOrd="9" destOrd="0" presId="urn:microsoft.com/office/officeart/2008/layout/VerticalAccentList"/>
    <dgm:cxn modelId="{9F1A9199-CC1B-49E4-962D-AED212FF6321}" type="presParOf" srcId="{4A7AF770-CE21-4761-BBA7-2EB1F597C5B3}" destId="{F4F5E702-F8AF-4476-A9BE-16E6B315C8D3}" srcOrd="0" destOrd="0" presId="urn:microsoft.com/office/officeart/2008/layout/VerticalAccentList"/>
    <dgm:cxn modelId="{AA6861D3-1AF6-453B-818B-679C01191FB9}" type="presParOf" srcId="{D62BA736-8055-48B7-9AEE-1C38EEFD8D99}" destId="{044FBE1B-4042-4B74-A295-BE8751F9C6AF}" srcOrd="10" destOrd="0" presId="urn:microsoft.com/office/officeart/2008/layout/VerticalAccentList"/>
    <dgm:cxn modelId="{644B0526-329B-4D97-B741-632F0201C9DE}" type="presParOf" srcId="{044FBE1B-4042-4B74-A295-BE8751F9C6AF}" destId="{847370B5-C8A8-4175-BFBC-900745DC9F55}" srcOrd="0" destOrd="0" presId="urn:microsoft.com/office/officeart/2008/layout/VerticalAccentList"/>
    <dgm:cxn modelId="{C348B428-0291-4DBC-A2E4-4991CBF50F4A}" type="presParOf" srcId="{044FBE1B-4042-4B74-A295-BE8751F9C6AF}" destId="{BB4FF437-077E-435A-B4EB-74479F49352A}" srcOrd="1" destOrd="0" presId="urn:microsoft.com/office/officeart/2008/layout/VerticalAccentList"/>
    <dgm:cxn modelId="{32B63A5C-B682-41C4-A18C-8BBA05B2E263}" type="presParOf" srcId="{044FBE1B-4042-4B74-A295-BE8751F9C6AF}" destId="{91506A7C-0125-4D40-8134-3F5BCEF44072}" srcOrd="2" destOrd="0" presId="urn:microsoft.com/office/officeart/2008/layout/VerticalAccentList"/>
    <dgm:cxn modelId="{9BB87C14-25A0-4C5D-86CA-9893731BADE2}" type="presParOf" srcId="{044FBE1B-4042-4B74-A295-BE8751F9C6AF}" destId="{459EAB88-F255-4BDE-AA3F-10155F959255}" srcOrd="3" destOrd="0" presId="urn:microsoft.com/office/officeart/2008/layout/VerticalAccentList"/>
    <dgm:cxn modelId="{18A62DB4-38E5-43C5-AEF7-4548AC687BB1}" type="presParOf" srcId="{044FBE1B-4042-4B74-A295-BE8751F9C6AF}" destId="{5FAEC293-28B9-4F39-BB7E-A69C5BACE444}" srcOrd="4" destOrd="0" presId="urn:microsoft.com/office/officeart/2008/layout/VerticalAccentList"/>
    <dgm:cxn modelId="{8F885C4C-F5EB-4898-A86B-005F045AF6BF}" type="presParOf" srcId="{044FBE1B-4042-4B74-A295-BE8751F9C6AF}" destId="{8EADE5D5-3BD7-4189-BCB0-C41B7B458231}" srcOrd="5" destOrd="0" presId="urn:microsoft.com/office/officeart/2008/layout/VerticalAccentList"/>
    <dgm:cxn modelId="{E09EE290-E70E-4C1B-8D3B-82769728844C}" type="presParOf" srcId="{044FBE1B-4042-4B74-A295-BE8751F9C6AF}" destId="{2A0170BA-0FE0-470F-9347-114A5FDA8CED}" srcOrd="6" destOrd="0" presId="urn:microsoft.com/office/officeart/2008/layout/VerticalAccentList"/>
    <dgm:cxn modelId="{A1F10944-6D38-4B95-9FE7-60EF65C2ABA7}" type="presParOf" srcId="{044FBE1B-4042-4B74-A295-BE8751F9C6AF}" destId="{D9A8A92A-21B6-4EEF-9E0D-938E2818B0AB}"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ED9BD02F-E339-4090-B585-3F3365AD045F}">
      <dgm:prSet phldrT="[Text]" custT="1"/>
      <dgm:spPr/>
      <dgm:t>
        <a:bodyPr/>
        <a:lstStyle/>
        <a:p>
          <a:r>
            <a:rPr lang="en-US" sz="2400" b="1" dirty="0"/>
            <a:t>Dedicated Study time</a:t>
          </a:r>
        </a:p>
      </dgm:t>
    </dgm:pt>
    <dgm:pt modelId="{D6DB04DC-2F26-4921-A61C-6F43970C9150}" type="parTrans" cxnId="{008C2564-1A79-4534-A182-C2CDA5BAD772}">
      <dgm:prSet/>
      <dgm:spPr/>
      <dgm:t>
        <a:bodyPr/>
        <a:lstStyle/>
        <a:p>
          <a:endParaRPr lang="en-US"/>
        </a:p>
      </dgm:t>
    </dgm:pt>
    <dgm:pt modelId="{EADF7916-DAFB-44F1-844C-3E290729B7FE}" type="sibTrans" cxnId="{008C2564-1A79-4534-A182-C2CDA5BAD772}">
      <dgm:prSet/>
      <dgm:spPr/>
      <dgm:t>
        <a:bodyPr/>
        <a:lstStyle/>
        <a:p>
          <a:endParaRPr lang="en-US"/>
        </a:p>
      </dgm:t>
    </dgm:pt>
    <dgm:pt modelId="{B939D0C7-0BEE-48BD-B32F-DC4D3CDBB56C}">
      <dgm:prSet phldrT="[Text]"/>
      <dgm:spPr/>
      <dgm:t>
        <a:bodyPr/>
        <a:lstStyle/>
        <a:p>
          <a:r>
            <a:rPr lang="en-US" b="1" dirty="0"/>
            <a:t>30 mins Day/night Pick a time; make it happen!</a:t>
          </a:r>
        </a:p>
      </dgm:t>
    </dgm:pt>
    <dgm:pt modelId="{477E4187-86CD-4745-B7AF-64AE1BA72E9A}" type="parTrans" cxnId="{B545A095-E3F0-49DA-841A-8B9B2CE72CC5}">
      <dgm:prSet/>
      <dgm:spPr/>
      <dgm:t>
        <a:bodyPr/>
        <a:lstStyle/>
        <a:p>
          <a:endParaRPr lang="en-US"/>
        </a:p>
      </dgm:t>
    </dgm:pt>
    <dgm:pt modelId="{2EB33E5B-7515-4504-8EC4-E7CE57370B34}" type="sibTrans" cxnId="{B545A095-E3F0-49DA-841A-8B9B2CE72CC5}">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2722BBAF-380A-4430-BC0C-E409E2C88A23}">
      <dgm:prSet phldrT="[Text]"/>
      <dgm:spPr/>
      <dgm:t>
        <a:bodyPr/>
        <a:lstStyle/>
        <a:p>
          <a:r>
            <a:rPr lang="en-US" b="1"/>
            <a:t>Read Faster</a:t>
          </a:r>
          <a:endParaRPr lang="en-US" b="1" dirty="0"/>
        </a:p>
      </dgm:t>
    </dgm:pt>
    <dgm:pt modelId="{0C068086-B08E-4D44-BEBD-128079E31591}" type="parTrans" cxnId="{A5D8C496-2A1E-493D-A479-42F3258A95C4}">
      <dgm:prSet/>
      <dgm:spPr/>
      <dgm:t>
        <a:bodyPr/>
        <a:lstStyle/>
        <a:p>
          <a:endParaRPr lang="en-US"/>
        </a:p>
      </dgm:t>
    </dgm:pt>
    <dgm:pt modelId="{1F95F32B-D648-4AB3-9248-3B8AB7558C98}" type="sibTrans" cxnId="{A5D8C496-2A1E-493D-A479-42F3258A95C4}">
      <dgm:prSet/>
      <dgm:spPr/>
      <dgm:t>
        <a:bodyPr/>
        <a:lstStyle/>
        <a:p>
          <a:endParaRPr lang="en-US"/>
        </a:p>
      </dgm:t>
    </dgm:pt>
    <dgm:pt modelId="{F6C9BE19-E4F1-4587-947D-37865E1EABE2}">
      <dgm:prSet phldrT="[Text]"/>
      <dgm:spPr/>
      <dgm:t>
        <a:bodyPr/>
        <a:lstStyle/>
        <a:p>
          <a:r>
            <a:rPr lang="en-US" dirty="0"/>
            <a:t>DO NOT GO BACK! </a:t>
          </a:r>
          <a:endParaRPr lang="en-US" b="1" dirty="0"/>
        </a:p>
      </dgm:t>
    </dgm:pt>
    <dgm:pt modelId="{D438B056-811E-4383-A12F-1CDF0D7D05D6}" type="parTrans" cxnId="{EB5BCAFC-F384-4B74-A6F4-B0AC8D76FE6B}">
      <dgm:prSet/>
      <dgm:spPr/>
      <dgm:t>
        <a:bodyPr/>
        <a:lstStyle/>
        <a:p>
          <a:endParaRPr lang="en-US"/>
        </a:p>
      </dgm:t>
    </dgm:pt>
    <dgm:pt modelId="{83BC3477-5D94-418D-A0BE-BC7A8703FC81}" type="sibTrans" cxnId="{EB5BCAFC-F384-4B74-A6F4-B0AC8D76FE6B}">
      <dgm:prSet/>
      <dgm:spPr/>
      <dgm:t>
        <a:bodyPr/>
        <a:lstStyle/>
        <a:p>
          <a:endParaRPr lang="en-US"/>
        </a:p>
      </dgm:t>
    </dgm:pt>
    <dgm:pt modelId="{518FBBB2-AD67-4961-885F-2BE8DAAE08AF}">
      <dgm:prSet phldrT="[Text]"/>
      <dgm:spPr/>
      <dgm:t>
        <a:bodyPr/>
        <a:lstStyle/>
        <a:p>
          <a:r>
            <a:rPr lang="en-US" b="1" dirty="0"/>
            <a:t>Use your finger, keep it moving make eyes follow</a:t>
          </a:r>
        </a:p>
      </dgm:t>
    </dgm:pt>
    <dgm:pt modelId="{05F630A5-59AC-4AD2-A8E7-63F37EAA9CB0}" type="parTrans" cxnId="{D2B1067B-A8F7-4A16-A7EC-4CA90141453B}">
      <dgm:prSet/>
      <dgm:spPr/>
      <dgm:t>
        <a:bodyPr/>
        <a:lstStyle/>
        <a:p>
          <a:endParaRPr lang="en-US"/>
        </a:p>
      </dgm:t>
    </dgm:pt>
    <dgm:pt modelId="{FBAF0E1F-6254-45CD-B6BF-57E524ED0752}" type="sibTrans" cxnId="{D2B1067B-A8F7-4A16-A7EC-4CA90141453B}">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4">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28"/>
      <dgm:spPr/>
    </dgm:pt>
    <dgm:pt modelId="{EE0AB3AA-D3AB-48E1-9321-A3137B8D322E}" type="pres">
      <dgm:prSet presAssocID="{D464049D-740D-4FE9-A0DA-CD61A1FF4485}" presName="chevron2" presStyleLbl="alignNode1" presStyleIdx="1" presStyleCnt="28"/>
      <dgm:spPr/>
    </dgm:pt>
    <dgm:pt modelId="{9329C696-5B71-4928-A272-8948028E97E5}" type="pres">
      <dgm:prSet presAssocID="{D464049D-740D-4FE9-A0DA-CD61A1FF4485}" presName="chevron3" presStyleLbl="alignNode1" presStyleIdx="2" presStyleCnt="28"/>
      <dgm:spPr/>
    </dgm:pt>
    <dgm:pt modelId="{38B69B3D-B02E-4121-82C7-F0C86715384C}" type="pres">
      <dgm:prSet presAssocID="{D464049D-740D-4FE9-A0DA-CD61A1FF4485}" presName="chevron4" presStyleLbl="alignNode1" presStyleIdx="3" presStyleCnt="28"/>
      <dgm:spPr/>
    </dgm:pt>
    <dgm:pt modelId="{F924661F-8EEB-4E1B-A452-D985D6D04D0A}" type="pres">
      <dgm:prSet presAssocID="{D464049D-740D-4FE9-A0DA-CD61A1FF4485}" presName="chevron5" presStyleLbl="alignNode1" presStyleIdx="4" presStyleCnt="28"/>
      <dgm:spPr/>
    </dgm:pt>
    <dgm:pt modelId="{C98C52F9-726D-4807-ABED-4E29C1B934C9}" type="pres">
      <dgm:prSet presAssocID="{D464049D-740D-4FE9-A0DA-CD61A1FF4485}" presName="chevron6" presStyleLbl="alignNode1" presStyleIdx="5" presStyleCnt="28"/>
      <dgm:spPr/>
    </dgm:pt>
    <dgm:pt modelId="{B9A8AC12-3C04-42B5-B797-2F1380D76C01}" type="pres">
      <dgm:prSet presAssocID="{D464049D-740D-4FE9-A0DA-CD61A1FF4485}" presName="chevron7" presStyleLbl="alignNode1" presStyleIdx="6" presStyleCnt="28"/>
      <dgm:spPr/>
    </dgm:pt>
    <dgm:pt modelId="{A3321F54-D695-48CF-9C80-8D8D97947C77}" type="pres">
      <dgm:prSet presAssocID="{D464049D-740D-4FE9-A0DA-CD61A1FF4485}" presName="childtext" presStyleLbl="solidFgAcc1" presStyleIdx="0" presStyleCnt="4">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4">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28"/>
      <dgm:spPr/>
    </dgm:pt>
    <dgm:pt modelId="{70D65ECC-FE53-4123-A18B-84F76B12E4C0}" type="pres">
      <dgm:prSet presAssocID="{85DD6230-7E39-489F-B845-2144D2FB3186}" presName="chevron2" presStyleLbl="alignNode1" presStyleIdx="8" presStyleCnt="28"/>
      <dgm:spPr/>
    </dgm:pt>
    <dgm:pt modelId="{1C848B6A-2F2F-44B0-A09C-1E5B13D04672}" type="pres">
      <dgm:prSet presAssocID="{85DD6230-7E39-489F-B845-2144D2FB3186}" presName="chevron3" presStyleLbl="alignNode1" presStyleIdx="9" presStyleCnt="28"/>
      <dgm:spPr/>
    </dgm:pt>
    <dgm:pt modelId="{6E5BAEEB-E1CF-40E4-9ED1-39B760C87CA8}" type="pres">
      <dgm:prSet presAssocID="{85DD6230-7E39-489F-B845-2144D2FB3186}" presName="chevron4" presStyleLbl="alignNode1" presStyleIdx="10" presStyleCnt="28"/>
      <dgm:spPr/>
    </dgm:pt>
    <dgm:pt modelId="{AF33DC73-B11F-4ACE-BFF3-2270EBF01C95}" type="pres">
      <dgm:prSet presAssocID="{85DD6230-7E39-489F-B845-2144D2FB3186}" presName="chevron5" presStyleLbl="alignNode1" presStyleIdx="11" presStyleCnt="28"/>
      <dgm:spPr/>
    </dgm:pt>
    <dgm:pt modelId="{8BEE9EF1-0C1A-4B48-B826-DB65676D1DFD}" type="pres">
      <dgm:prSet presAssocID="{85DD6230-7E39-489F-B845-2144D2FB3186}" presName="chevron6" presStyleLbl="alignNode1" presStyleIdx="12" presStyleCnt="28"/>
      <dgm:spPr/>
    </dgm:pt>
    <dgm:pt modelId="{15DBB07C-1792-42CF-BF62-030823DEF5D2}" type="pres">
      <dgm:prSet presAssocID="{85DD6230-7E39-489F-B845-2144D2FB3186}" presName="chevron7" presStyleLbl="alignNode1" presStyleIdx="13" presStyleCnt="28"/>
      <dgm:spPr/>
    </dgm:pt>
    <dgm:pt modelId="{9E60AD78-2486-4FA6-A6D4-F802030DC906}" type="pres">
      <dgm:prSet presAssocID="{85DD6230-7E39-489F-B845-2144D2FB3186}" presName="childtext" presStyleLbl="solidFgAcc1" presStyleIdx="1" presStyleCnt="4">
        <dgm:presLayoutVars>
          <dgm:chMax/>
          <dgm:chPref val="0"/>
          <dgm:bulletEnabled val="1"/>
        </dgm:presLayoutVars>
      </dgm:prSet>
      <dgm:spPr/>
    </dgm:pt>
    <dgm:pt modelId="{E41206EE-73A1-4D9A-A23B-07D47FA331C6}" type="pres">
      <dgm:prSet presAssocID="{7887ADF7-4FC3-4229-9536-4DFE6261D93A}" presName="sibTrans" presStyleCnt="0"/>
      <dgm:spPr/>
    </dgm:pt>
    <dgm:pt modelId="{D7C438E6-861C-4874-9CC6-5A207A42D000}" type="pres">
      <dgm:prSet presAssocID="{ED9BD02F-E339-4090-B585-3F3365AD045F}" presName="parenttextcomposite" presStyleCnt="0"/>
      <dgm:spPr/>
    </dgm:pt>
    <dgm:pt modelId="{4E668978-DD2E-4455-8F1B-460890CEDDD0}" type="pres">
      <dgm:prSet presAssocID="{ED9BD02F-E339-4090-B585-3F3365AD045F}" presName="parenttext" presStyleLbl="revTx" presStyleIdx="2" presStyleCnt="4">
        <dgm:presLayoutVars>
          <dgm:chMax/>
          <dgm:chPref val="2"/>
          <dgm:bulletEnabled val="1"/>
        </dgm:presLayoutVars>
      </dgm:prSet>
      <dgm:spPr/>
    </dgm:pt>
    <dgm:pt modelId="{EA75828D-67D5-4AB1-9A4C-BD61C172E318}" type="pres">
      <dgm:prSet presAssocID="{ED9BD02F-E339-4090-B585-3F3365AD045F}" presName="composite" presStyleCnt="0"/>
      <dgm:spPr/>
    </dgm:pt>
    <dgm:pt modelId="{1185CAAF-D23B-4B96-A044-FF5C28F24859}" type="pres">
      <dgm:prSet presAssocID="{ED9BD02F-E339-4090-B585-3F3365AD045F}" presName="chevron1" presStyleLbl="alignNode1" presStyleIdx="14" presStyleCnt="28"/>
      <dgm:spPr/>
    </dgm:pt>
    <dgm:pt modelId="{5F7A619F-E82B-4A9D-8E03-ADD7F3A04761}" type="pres">
      <dgm:prSet presAssocID="{ED9BD02F-E339-4090-B585-3F3365AD045F}" presName="chevron2" presStyleLbl="alignNode1" presStyleIdx="15" presStyleCnt="28"/>
      <dgm:spPr/>
    </dgm:pt>
    <dgm:pt modelId="{0551AF3A-90E8-4FF7-94B9-607493F493F5}" type="pres">
      <dgm:prSet presAssocID="{ED9BD02F-E339-4090-B585-3F3365AD045F}" presName="chevron3" presStyleLbl="alignNode1" presStyleIdx="16" presStyleCnt="28"/>
      <dgm:spPr/>
    </dgm:pt>
    <dgm:pt modelId="{A2E46F09-FFC4-403D-8EAB-C5598E735292}" type="pres">
      <dgm:prSet presAssocID="{ED9BD02F-E339-4090-B585-3F3365AD045F}" presName="chevron4" presStyleLbl="alignNode1" presStyleIdx="17" presStyleCnt="28"/>
      <dgm:spPr/>
    </dgm:pt>
    <dgm:pt modelId="{73CA0293-0467-42C1-98F1-C385719E54CD}" type="pres">
      <dgm:prSet presAssocID="{ED9BD02F-E339-4090-B585-3F3365AD045F}" presName="chevron5" presStyleLbl="alignNode1" presStyleIdx="18" presStyleCnt="28"/>
      <dgm:spPr/>
    </dgm:pt>
    <dgm:pt modelId="{E72F9714-3B2C-41F8-ABA2-2AD13481E570}" type="pres">
      <dgm:prSet presAssocID="{ED9BD02F-E339-4090-B585-3F3365AD045F}" presName="chevron6" presStyleLbl="alignNode1" presStyleIdx="19" presStyleCnt="28"/>
      <dgm:spPr/>
    </dgm:pt>
    <dgm:pt modelId="{00138509-142F-489D-97C1-413B3041444A}" type="pres">
      <dgm:prSet presAssocID="{ED9BD02F-E339-4090-B585-3F3365AD045F}" presName="chevron7" presStyleLbl="alignNode1" presStyleIdx="20" presStyleCnt="28"/>
      <dgm:spPr/>
    </dgm:pt>
    <dgm:pt modelId="{B8CEAD29-E03C-42DC-BC09-1B4E055CFC2D}" type="pres">
      <dgm:prSet presAssocID="{ED9BD02F-E339-4090-B585-3F3365AD045F}" presName="childtext" presStyleLbl="solidFgAcc1" presStyleIdx="2" presStyleCnt="4">
        <dgm:presLayoutVars>
          <dgm:chMax/>
          <dgm:chPref val="0"/>
          <dgm:bulletEnabled val="1"/>
        </dgm:presLayoutVars>
      </dgm:prSet>
      <dgm:spPr/>
    </dgm:pt>
    <dgm:pt modelId="{35476343-3214-4608-8015-5D6FE80F138D}" type="pres">
      <dgm:prSet presAssocID="{EADF7916-DAFB-44F1-844C-3E290729B7FE}" presName="sibTrans" presStyleCnt="0"/>
      <dgm:spPr/>
    </dgm:pt>
    <dgm:pt modelId="{6C109A5E-CE0F-4B40-BF07-54C0A1F9D89E}" type="pres">
      <dgm:prSet presAssocID="{2722BBAF-380A-4430-BC0C-E409E2C88A23}" presName="parenttextcomposite" presStyleCnt="0"/>
      <dgm:spPr/>
    </dgm:pt>
    <dgm:pt modelId="{C652C35B-E3D1-4411-B684-28295DBB62F3}" type="pres">
      <dgm:prSet presAssocID="{2722BBAF-380A-4430-BC0C-E409E2C88A23}" presName="parenttext" presStyleLbl="revTx" presStyleIdx="3" presStyleCnt="4">
        <dgm:presLayoutVars>
          <dgm:chMax/>
          <dgm:chPref val="2"/>
          <dgm:bulletEnabled val="1"/>
        </dgm:presLayoutVars>
      </dgm:prSet>
      <dgm:spPr/>
    </dgm:pt>
    <dgm:pt modelId="{5A19F029-E48F-4D4F-9B78-B15CFE65A504}" type="pres">
      <dgm:prSet presAssocID="{2722BBAF-380A-4430-BC0C-E409E2C88A23}" presName="composite" presStyleCnt="0"/>
      <dgm:spPr/>
    </dgm:pt>
    <dgm:pt modelId="{E6C1B811-16F7-40E6-A3C6-9BF9B07AD014}" type="pres">
      <dgm:prSet presAssocID="{2722BBAF-380A-4430-BC0C-E409E2C88A23}" presName="chevron1" presStyleLbl="alignNode1" presStyleIdx="21" presStyleCnt="28"/>
      <dgm:spPr/>
    </dgm:pt>
    <dgm:pt modelId="{47906D3E-1CF6-42BA-A2B7-544896BCA658}" type="pres">
      <dgm:prSet presAssocID="{2722BBAF-380A-4430-BC0C-E409E2C88A23}" presName="chevron2" presStyleLbl="alignNode1" presStyleIdx="22" presStyleCnt="28"/>
      <dgm:spPr/>
    </dgm:pt>
    <dgm:pt modelId="{36D45DDD-AB74-46CC-A22E-B43B6D6FFBFA}" type="pres">
      <dgm:prSet presAssocID="{2722BBAF-380A-4430-BC0C-E409E2C88A23}" presName="chevron3" presStyleLbl="alignNode1" presStyleIdx="23" presStyleCnt="28"/>
      <dgm:spPr/>
    </dgm:pt>
    <dgm:pt modelId="{DA800A51-EEF9-4A11-ACDE-BFB6B164518D}" type="pres">
      <dgm:prSet presAssocID="{2722BBAF-380A-4430-BC0C-E409E2C88A23}" presName="chevron4" presStyleLbl="alignNode1" presStyleIdx="24" presStyleCnt="28"/>
      <dgm:spPr/>
    </dgm:pt>
    <dgm:pt modelId="{8333698D-2C70-4EDE-9B51-FF2453F479AB}" type="pres">
      <dgm:prSet presAssocID="{2722BBAF-380A-4430-BC0C-E409E2C88A23}" presName="chevron5" presStyleLbl="alignNode1" presStyleIdx="25" presStyleCnt="28"/>
      <dgm:spPr/>
    </dgm:pt>
    <dgm:pt modelId="{D0DFE717-589A-4F64-8F5E-300331375BDC}" type="pres">
      <dgm:prSet presAssocID="{2722BBAF-380A-4430-BC0C-E409E2C88A23}" presName="chevron6" presStyleLbl="alignNode1" presStyleIdx="26" presStyleCnt="28"/>
      <dgm:spPr/>
    </dgm:pt>
    <dgm:pt modelId="{D0718D9C-F534-46FD-99D4-42B12B4D0CF8}" type="pres">
      <dgm:prSet presAssocID="{2722BBAF-380A-4430-BC0C-E409E2C88A23}" presName="chevron7" presStyleLbl="alignNode1" presStyleIdx="27" presStyleCnt="28"/>
      <dgm:spPr/>
    </dgm:pt>
    <dgm:pt modelId="{072D7890-8089-4415-8CDF-9540B6A09B9D}" type="pres">
      <dgm:prSet presAssocID="{2722BBAF-380A-4430-BC0C-E409E2C88A23}" presName="childtext" presStyleLbl="solidFgAcc1" presStyleIdx="3" presStyleCnt="4" custScaleY="80926">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A1B4D3C-6B21-47A2-9915-A41F064C2223}" type="presOf" srcId="{F6C9BE19-E4F1-4587-947D-37865E1EABE2}" destId="{072D7890-8089-4415-8CDF-9540B6A09B9D}" srcOrd="0" destOrd="0" presId="urn:microsoft.com/office/officeart/2008/layout/VerticalAccentList"/>
    <dgm:cxn modelId="{5F24553D-A5E2-47C1-A690-B706DF2F4E4F}" type="presOf" srcId="{518FBBB2-AD67-4961-885F-2BE8DAAE08AF}" destId="{072D7890-8089-4415-8CDF-9540B6A09B9D}" srcOrd="0" destOrd="1" presId="urn:microsoft.com/office/officeart/2008/layout/VerticalAccentList"/>
    <dgm:cxn modelId="{008C2564-1A79-4534-A182-C2CDA5BAD772}" srcId="{3E04A716-B106-4C88-ADD4-4F101E22C607}" destId="{ED9BD02F-E339-4090-B585-3F3365AD045F}" srcOrd="2" destOrd="0" parTransId="{D6DB04DC-2F26-4921-A61C-6F43970C9150}" sibTransId="{EADF7916-DAFB-44F1-844C-3E290729B7FE}"/>
    <dgm:cxn modelId="{67195F65-91A8-4BE3-8B17-75C326A877B4}" srcId="{85DD6230-7E39-489F-B845-2144D2FB3186}" destId="{B555DA5C-EE45-4E3B-ADE8-1C1E1A54C064}" srcOrd="0" destOrd="0" parTransId="{3429BBDB-B226-4D65-8AA8-1CD1B7B3AD68}" sibTransId="{233C0419-6636-436A-A650-4B3A1BB2A6C4}"/>
    <dgm:cxn modelId="{D2B1067B-A8F7-4A16-A7EC-4CA90141453B}" srcId="{2722BBAF-380A-4430-BC0C-E409E2C88A23}" destId="{518FBBB2-AD67-4961-885F-2BE8DAAE08AF}" srcOrd="1" destOrd="0" parTransId="{05F630A5-59AC-4AD2-A8E7-63F37EAA9CB0}" sibTransId="{FBAF0E1F-6254-45CD-B6BF-57E524ED0752}"/>
    <dgm:cxn modelId="{B545A095-E3F0-49DA-841A-8B9B2CE72CC5}" srcId="{ED9BD02F-E339-4090-B585-3F3365AD045F}" destId="{B939D0C7-0BEE-48BD-B32F-DC4D3CDBB56C}" srcOrd="0" destOrd="0" parTransId="{477E4187-86CD-4745-B7AF-64AE1BA72E9A}" sibTransId="{2EB33E5B-7515-4504-8EC4-E7CE57370B34}"/>
    <dgm:cxn modelId="{643F2E96-85ED-4407-867B-2658A3C50B16}" type="presOf" srcId="{ED9BD02F-E339-4090-B585-3F3365AD045F}" destId="{4E668978-DD2E-4455-8F1B-460890CEDDD0}" srcOrd="0" destOrd="0" presId="urn:microsoft.com/office/officeart/2008/layout/VerticalAccentList"/>
    <dgm:cxn modelId="{A5D8C496-2A1E-493D-A479-42F3258A95C4}" srcId="{3E04A716-B106-4C88-ADD4-4F101E22C607}" destId="{2722BBAF-380A-4430-BC0C-E409E2C88A23}" srcOrd="3" destOrd="0" parTransId="{0C068086-B08E-4D44-BEBD-128079E31591}" sibTransId="{1F95F32B-D648-4AB3-9248-3B8AB7558C98}"/>
    <dgm:cxn modelId="{A575ECA1-C4E2-4353-A321-C754046CF012}" type="presOf" srcId="{3E04A716-B106-4C88-ADD4-4F101E22C607}" destId="{CC29E4EB-DEC7-4A77-B8FD-8661E7B639E7}" srcOrd="0" destOrd="0" presId="urn:microsoft.com/office/officeart/2008/layout/VerticalAccentList"/>
    <dgm:cxn modelId="{D2C8E6B1-3DD6-42CF-9373-B5F1ACEEE140}" type="presOf" srcId="{B939D0C7-0BEE-48BD-B32F-DC4D3CDBB56C}" destId="{B8CEAD29-E03C-42DC-BC09-1B4E055CFC2D}" srcOrd="0" destOrd="0" presId="urn:microsoft.com/office/officeart/2008/layout/VerticalAccentList"/>
    <dgm:cxn modelId="{6FE27EB7-C23D-4408-B4A8-E543AC2380C7}" type="presOf" srcId="{2722BBAF-380A-4430-BC0C-E409E2C88A23}" destId="{C652C35B-E3D1-4411-B684-28295DBB62F3}"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EB5BCAFC-F384-4B74-A6F4-B0AC8D76FE6B}" srcId="{2722BBAF-380A-4430-BC0C-E409E2C88A23}" destId="{F6C9BE19-E4F1-4587-947D-37865E1EABE2}" srcOrd="0" destOrd="0" parTransId="{D438B056-811E-4383-A12F-1CDF0D7D05D6}" sibTransId="{83BC3477-5D94-418D-A0BE-BC7A8703FC81}"/>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 modelId="{E3D90255-A0AD-4627-B8F1-B1D8C28812F2}" type="presParOf" srcId="{CC29E4EB-DEC7-4A77-B8FD-8661E7B639E7}" destId="{E41206EE-73A1-4D9A-A23B-07D47FA331C6}" srcOrd="5" destOrd="0" presId="urn:microsoft.com/office/officeart/2008/layout/VerticalAccentList"/>
    <dgm:cxn modelId="{D4778657-A808-40E5-96DF-F2264FB6CCB3}" type="presParOf" srcId="{CC29E4EB-DEC7-4A77-B8FD-8661E7B639E7}" destId="{D7C438E6-861C-4874-9CC6-5A207A42D000}" srcOrd="6" destOrd="0" presId="urn:microsoft.com/office/officeart/2008/layout/VerticalAccentList"/>
    <dgm:cxn modelId="{09959361-B552-49B4-B8EC-CEA6DB51184C}" type="presParOf" srcId="{D7C438E6-861C-4874-9CC6-5A207A42D000}" destId="{4E668978-DD2E-4455-8F1B-460890CEDDD0}" srcOrd="0" destOrd="0" presId="urn:microsoft.com/office/officeart/2008/layout/VerticalAccentList"/>
    <dgm:cxn modelId="{261054D5-4CB7-41F4-AFCB-78A9126E0D5C}" type="presParOf" srcId="{CC29E4EB-DEC7-4A77-B8FD-8661E7B639E7}" destId="{EA75828D-67D5-4AB1-9A4C-BD61C172E318}" srcOrd="7" destOrd="0" presId="urn:microsoft.com/office/officeart/2008/layout/VerticalAccentList"/>
    <dgm:cxn modelId="{7D40F444-A977-48DC-8507-2B639D2BE742}" type="presParOf" srcId="{EA75828D-67D5-4AB1-9A4C-BD61C172E318}" destId="{1185CAAF-D23B-4B96-A044-FF5C28F24859}" srcOrd="0" destOrd="0" presId="urn:microsoft.com/office/officeart/2008/layout/VerticalAccentList"/>
    <dgm:cxn modelId="{3CD65168-122E-45CA-84AB-F2F8F7A25A0D}" type="presParOf" srcId="{EA75828D-67D5-4AB1-9A4C-BD61C172E318}" destId="{5F7A619F-E82B-4A9D-8E03-ADD7F3A04761}" srcOrd="1" destOrd="0" presId="urn:microsoft.com/office/officeart/2008/layout/VerticalAccentList"/>
    <dgm:cxn modelId="{EFCD929E-3771-4104-B1CC-4857B9849C90}" type="presParOf" srcId="{EA75828D-67D5-4AB1-9A4C-BD61C172E318}" destId="{0551AF3A-90E8-4FF7-94B9-607493F493F5}" srcOrd="2" destOrd="0" presId="urn:microsoft.com/office/officeart/2008/layout/VerticalAccentList"/>
    <dgm:cxn modelId="{A3DF8EAB-DE1F-40AE-B35F-5F7DDC00F912}" type="presParOf" srcId="{EA75828D-67D5-4AB1-9A4C-BD61C172E318}" destId="{A2E46F09-FFC4-403D-8EAB-C5598E735292}" srcOrd="3" destOrd="0" presId="urn:microsoft.com/office/officeart/2008/layout/VerticalAccentList"/>
    <dgm:cxn modelId="{D9CA88E7-2281-4D81-9F32-1DD99B4C65B2}" type="presParOf" srcId="{EA75828D-67D5-4AB1-9A4C-BD61C172E318}" destId="{73CA0293-0467-42C1-98F1-C385719E54CD}" srcOrd="4" destOrd="0" presId="urn:microsoft.com/office/officeart/2008/layout/VerticalAccentList"/>
    <dgm:cxn modelId="{D7FF9E1E-17B4-46A2-BE26-732BE99654DE}" type="presParOf" srcId="{EA75828D-67D5-4AB1-9A4C-BD61C172E318}" destId="{E72F9714-3B2C-41F8-ABA2-2AD13481E570}" srcOrd="5" destOrd="0" presId="urn:microsoft.com/office/officeart/2008/layout/VerticalAccentList"/>
    <dgm:cxn modelId="{B6719F88-467B-462A-90FE-8FD2257FC842}" type="presParOf" srcId="{EA75828D-67D5-4AB1-9A4C-BD61C172E318}" destId="{00138509-142F-489D-97C1-413B3041444A}" srcOrd="6" destOrd="0" presId="urn:microsoft.com/office/officeart/2008/layout/VerticalAccentList"/>
    <dgm:cxn modelId="{16D0EE60-F196-4E5F-86E4-A3DA5762B262}" type="presParOf" srcId="{EA75828D-67D5-4AB1-9A4C-BD61C172E318}" destId="{B8CEAD29-E03C-42DC-BC09-1B4E055CFC2D}" srcOrd="7" destOrd="0" presId="urn:microsoft.com/office/officeart/2008/layout/VerticalAccentList"/>
    <dgm:cxn modelId="{A5D01144-D931-4B67-BA05-96A0B9CE0C0A}" type="presParOf" srcId="{CC29E4EB-DEC7-4A77-B8FD-8661E7B639E7}" destId="{35476343-3214-4608-8015-5D6FE80F138D}" srcOrd="8" destOrd="0" presId="urn:microsoft.com/office/officeart/2008/layout/VerticalAccentList"/>
    <dgm:cxn modelId="{4E8266F2-AEA4-400F-8C6A-EC57772388C4}" type="presParOf" srcId="{CC29E4EB-DEC7-4A77-B8FD-8661E7B639E7}" destId="{6C109A5E-CE0F-4B40-BF07-54C0A1F9D89E}" srcOrd="9" destOrd="0" presId="urn:microsoft.com/office/officeart/2008/layout/VerticalAccentList"/>
    <dgm:cxn modelId="{3890789F-EAA2-4868-93A6-C8323106856E}" type="presParOf" srcId="{6C109A5E-CE0F-4B40-BF07-54C0A1F9D89E}" destId="{C652C35B-E3D1-4411-B684-28295DBB62F3}" srcOrd="0" destOrd="0" presId="urn:microsoft.com/office/officeart/2008/layout/VerticalAccentList"/>
    <dgm:cxn modelId="{DF0D9012-1364-424E-8B8E-070051A9948F}" type="presParOf" srcId="{CC29E4EB-DEC7-4A77-B8FD-8661E7B639E7}" destId="{5A19F029-E48F-4D4F-9B78-B15CFE65A504}" srcOrd="10" destOrd="0" presId="urn:microsoft.com/office/officeart/2008/layout/VerticalAccentList"/>
    <dgm:cxn modelId="{6B2C5BA3-5C83-4DC8-9356-172A7855650E}" type="presParOf" srcId="{5A19F029-E48F-4D4F-9B78-B15CFE65A504}" destId="{E6C1B811-16F7-40E6-A3C6-9BF9B07AD014}" srcOrd="0" destOrd="0" presId="urn:microsoft.com/office/officeart/2008/layout/VerticalAccentList"/>
    <dgm:cxn modelId="{BF959EA0-63FC-44CF-AB64-59AF741AC7B1}" type="presParOf" srcId="{5A19F029-E48F-4D4F-9B78-B15CFE65A504}" destId="{47906D3E-1CF6-42BA-A2B7-544896BCA658}" srcOrd="1" destOrd="0" presId="urn:microsoft.com/office/officeart/2008/layout/VerticalAccentList"/>
    <dgm:cxn modelId="{089679E3-A6DC-4E77-8447-EC550A36EFF1}" type="presParOf" srcId="{5A19F029-E48F-4D4F-9B78-B15CFE65A504}" destId="{36D45DDD-AB74-46CC-A22E-B43B6D6FFBFA}" srcOrd="2" destOrd="0" presId="urn:microsoft.com/office/officeart/2008/layout/VerticalAccentList"/>
    <dgm:cxn modelId="{6843B551-35E8-4669-92F6-890282590BF8}" type="presParOf" srcId="{5A19F029-E48F-4D4F-9B78-B15CFE65A504}" destId="{DA800A51-EEF9-4A11-ACDE-BFB6B164518D}" srcOrd="3" destOrd="0" presId="urn:microsoft.com/office/officeart/2008/layout/VerticalAccentList"/>
    <dgm:cxn modelId="{71293E0B-1798-4AEB-B014-8898C6E47F58}" type="presParOf" srcId="{5A19F029-E48F-4D4F-9B78-B15CFE65A504}" destId="{8333698D-2C70-4EDE-9B51-FF2453F479AB}" srcOrd="4" destOrd="0" presId="urn:microsoft.com/office/officeart/2008/layout/VerticalAccentList"/>
    <dgm:cxn modelId="{A369130E-C4FF-4455-B9DF-D3954B18790F}" type="presParOf" srcId="{5A19F029-E48F-4D4F-9B78-B15CFE65A504}" destId="{D0DFE717-589A-4F64-8F5E-300331375BDC}" srcOrd="5" destOrd="0" presId="urn:microsoft.com/office/officeart/2008/layout/VerticalAccentList"/>
    <dgm:cxn modelId="{99AE51B2-AA0E-4F52-9B96-CFCB11E4A719}" type="presParOf" srcId="{5A19F029-E48F-4D4F-9B78-B15CFE65A504}" destId="{D0718D9C-F534-46FD-99D4-42B12B4D0CF8}" srcOrd="6" destOrd="0" presId="urn:microsoft.com/office/officeart/2008/layout/VerticalAccentList"/>
    <dgm:cxn modelId="{1C008726-D17A-4012-A13B-3CB1457A8E22}" type="presParOf" srcId="{5A19F029-E48F-4D4F-9B78-B15CFE65A504}" destId="{072D7890-8089-4415-8CDF-9540B6A09B9D}"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96B1FD-8681-4CCE-9BE7-0108F6F867B6}">
      <dsp:nvSpPr>
        <dsp:cNvPr id="0" name=""/>
        <dsp:cNvSpPr/>
      </dsp:nvSpPr>
      <dsp:spPr>
        <a:xfrm>
          <a:off x="88470" y="26301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Certification</a:t>
          </a:r>
        </a:p>
      </dsp:txBody>
      <dsp:txXfrm>
        <a:off x="88470" y="263012"/>
        <a:ext cx="5124203" cy="465836"/>
      </dsp:txXfrm>
    </dsp:sp>
    <dsp:sp modelId="{697BCE78-AE2E-443B-9DE2-18680639DF30}">
      <dsp:nvSpPr>
        <dsp:cNvPr id="0" name=""/>
        <dsp:cNvSpPr/>
      </dsp:nvSpPr>
      <dsp:spPr>
        <a:xfrm>
          <a:off x="8847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B5F67B4-7FBB-46AF-90E1-70B885F9B1A0}">
      <dsp:nvSpPr>
        <dsp:cNvPr id="0" name=""/>
        <dsp:cNvSpPr/>
      </dsp:nvSpPr>
      <dsp:spPr>
        <a:xfrm>
          <a:off x="808706"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07738E-306A-4730-A007-084DF385F3FF}">
      <dsp:nvSpPr>
        <dsp:cNvPr id="0" name=""/>
        <dsp:cNvSpPr/>
      </dsp:nvSpPr>
      <dsp:spPr>
        <a:xfrm>
          <a:off x="152951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CE8E51-E416-45BB-A560-660D53F17696}">
      <dsp:nvSpPr>
        <dsp:cNvPr id="0" name=""/>
        <dsp:cNvSpPr/>
      </dsp:nvSpPr>
      <dsp:spPr>
        <a:xfrm>
          <a:off x="2249746"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B562CC-BFA3-43A6-803F-9A1F56EBA880}">
      <dsp:nvSpPr>
        <dsp:cNvPr id="0" name=""/>
        <dsp:cNvSpPr/>
      </dsp:nvSpPr>
      <dsp:spPr>
        <a:xfrm>
          <a:off x="297055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AEAB1E-494D-470E-A80F-9C13B690092D}">
      <dsp:nvSpPr>
        <dsp:cNvPr id="0" name=""/>
        <dsp:cNvSpPr/>
      </dsp:nvSpPr>
      <dsp:spPr>
        <a:xfrm>
          <a:off x="3690785"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D98E53-203C-4FF7-82C6-F58DA8574E4F}">
      <dsp:nvSpPr>
        <dsp:cNvPr id="0" name=""/>
        <dsp:cNvSpPr/>
      </dsp:nvSpPr>
      <dsp:spPr>
        <a:xfrm>
          <a:off x="441159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30F9DE-B067-4A84-A657-C1F37252AF82}">
      <dsp:nvSpPr>
        <dsp:cNvPr id="0" name=""/>
        <dsp:cNvSpPr/>
      </dsp:nvSpPr>
      <dsp:spPr>
        <a:xfrm>
          <a:off x="88470" y="823741"/>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Self, Career, Income, Stature</a:t>
          </a:r>
        </a:p>
        <a:p>
          <a:pPr marL="0" lvl="0" indent="0" algn="l" defTabSz="844550">
            <a:lnSpc>
              <a:spcPct val="90000"/>
            </a:lnSpc>
            <a:spcBef>
              <a:spcPct val="0"/>
            </a:spcBef>
            <a:spcAft>
              <a:spcPct val="35000"/>
            </a:spcAft>
            <a:buNone/>
          </a:pPr>
          <a:r>
            <a:rPr lang="en-US" sz="1900" kern="1200" dirty="0"/>
            <a:t>Make the Decision… Get STARTED NOW!</a:t>
          </a:r>
        </a:p>
      </dsp:txBody>
      <dsp:txXfrm>
        <a:off x="88470" y="823741"/>
        <a:ext cx="5190818" cy="759141"/>
      </dsp:txXfrm>
    </dsp:sp>
    <dsp:sp modelId="{7879BA2E-6071-493E-B298-947188667C8F}">
      <dsp:nvSpPr>
        <dsp:cNvPr id="0" name=""/>
        <dsp:cNvSpPr/>
      </dsp:nvSpPr>
      <dsp:spPr>
        <a:xfrm>
          <a:off x="88470" y="1777055"/>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Recognize Accomplishments</a:t>
          </a:r>
        </a:p>
      </dsp:txBody>
      <dsp:txXfrm>
        <a:off x="88470" y="1777055"/>
        <a:ext cx="5124203" cy="465836"/>
      </dsp:txXfrm>
    </dsp:sp>
    <dsp:sp modelId="{DED14C54-3C21-478E-813A-755AD321E72B}">
      <dsp:nvSpPr>
        <dsp:cNvPr id="0" name=""/>
        <dsp:cNvSpPr/>
      </dsp:nvSpPr>
      <dsp:spPr>
        <a:xfrm>
          <a:off x="8847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1A6627-3921-4A2D-8661-4DE372666C87}">
      <dsp:nvSpPr>
        <dsp:cNvPr id="0" name=""/>
        <dsp:cNvSpPr/>
      </dsp:nvSpPr>
      <dsp:spPr>
        <a:xfrm>
          <a:off x="808706"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64ABBE-3EF0-4A1D-B1C4-6C93806C5F4F}">
      <dsp:nvSpPr>
        <dsp:cNvPr id="0" name=""/>
        <dsp:cNvSpPr/>
      </dsp:nvSpPr>
      <dsp:spPr>
        <a:xfrm>
          <a:off x="152951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43E8BD-E77A-452D-B80B-55A5789CB422}">
      <dsp:nvSpPr>
        <dsp:cNvPr id="0" name=""/>
        <dsp:cNvSpPr/>
      </dsp:nvSpPr>
      <dsp:spPr>
        <a:xfrm>
          <a:off x="2249746"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9948BC-4792-44BB-A348-E696F901916A}">
      <dsp:nvSpPr>
        <dsp:cNvPr id="0" name=""/>
        <dsp:cNvSpPr/>
      </dsp:nvSpPr>
      <dsp:spPr>
        <a:xfrm>
          <a:off x="297055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A4DF37-FA78-4AB3-AB6B-B4E143DCF66F}">
      <dsp:nvSpPr>
        <dsp:cNvPr id="0" name=""/>
        <dsp:cNvSpPr/>
      </dsp:nvSpPr>
      <dsp:spPr>
        <a:xfrm>
          <a:off x="3690785"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5A660D-7DC7-4EE0-B8EF-640A2AD33F22}">
      <dsp:nvSpPr>
        <dsp:cNvPr id="0" name=""/>
        <dsp:cNvSpPr/>
      </dsp:nvSpPr>
      <dsp:spPr>
        <a:xfrm>
          <a:off x="441159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DF6F4A-81DF-4A84-B5F9-8A911F18A7DB}">
      <dsp:nvSpPr>
        <dsp:cNvPr id="0" name=""/>
        <dsp:cNvSpPr/>
      </dsp:nvSpPr>
      <dsp:spPr>
        <a:xfrm>
          <a:off x="88470" y="2337785"/>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Finish a chapter, Finish a Lab, Watch a video, Read a white paper… All Accomplishments</a:t>
          </a:r>
        </a:p>
      </dsp:txBody>
      <dsp:txXfrm>
        <a:off x="88470" y="2337785"/>
        <a:ext cx="5190818" cy="759141"/>
      </dsp:txXfrm>
    </dsp:sp>
    <dsp:sp modelId="{1750DEA6-1349-4773-8D83-7B0686008CCB}">
      <dsp:nvSpPr>
        <dsp:cNvPr id="0" name=""/>
        <dsp:cNvSpPr/>
      </dsp:nvSpPr>
      <dsp:spPr>
        <a:xfrm>
          <a:off x="88470" y="3291099"/>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Get Family On Board</a:t>
          </a:r>
        </a:p>
      </dsp:txBody>
      <dsp:txXfrm>
        <a:off x="88470" y="3291099"/>
        <a:ext cx="5124203" cy="465836"/>
      </dsp:txXfrm>
    </dsp:sp>
    <dsp:sp modelId="{015A0644-3C96-4C98-962B-5D0471BF608E}">
      <dsp:nvSpPr>
        <dsp:cNvPr id="0" name=""/>
        <dsp:cNvSpPr/>
      </dsp:nvSpPr>
      <dsp:spPr>
        <a:xfrm>
          <a:off x="8847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C47965-CCA8-4055-A56D-36FA36F10495}">
      <dsp:nvSpPr>
        <dsp:cNvPr id="0" name=""/>
        <dsp:cNvSpPr/>
      </dsp:nvSpPr>
      <dsp:spPr>
        <a:xfrm>
          <a:off x="808706"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214177-EA78-487F-A042-51A83FA331D9}">
      <dsp:nvSpPr>
        <dsp:cNvPr id="0" name=""/>
        <dsp:cNvSpPr/>
      </dsp:nvSpPr>
      <dsp:spPr>
        <a:xfrm>
          <a:off x="152951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70AF20-FED3-4585-9FB5-E15F7689A43F}">
      <dsp:nvSpPr>
        <dsp:cNvPr id="0" name=""/>
        <dsp:cNvSpPr/>
      </dsp:nvSpPr>
      <dsp:spPr>
        <a:xfrm>
          <a:off x="2249746"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F91B8B-242D-43B8-8FE9-29EB22F913B3}">
      <dsp:nvSpPr>
        <dsp:cNvPr id="0" name=""/>
        <dsp:cNvSpPr/>
      </dsp:nvSpPr>
      <dsp:spPr>
        <a:xfrm>
          <a:off x="297055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D87061-10B0-4CD9-873D-0519C56E9BA3}">
      <dsp:nvSpPr>
        <dsp:cNvPr id="0" name=""/>
        <dsp:cNvSpPr/>
      </dsp:nvSpPr>
      <dsp:spPr>
        <a:xfrm>
          <a:off x="3690785"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A7A6B8-D189-412B-AC72-947AAFE51E12}">
      <dsp:nvSpPr>
        <dsp:cNvPr id="0" name=""/>
        <dsp:cNvSpPr/>
      </dsp:nvSpPr>
      <dsp:spPr>
        <a:xfrm>
          <a:off x="441159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C65DA6-CD6F-41DA-9528-0164593EB2E9}">
      <dsp:nvSpPr>
        <dsp:cNvPr id="0" name=""/>
        <dsp:cNvSpPr/>
      </dsp:nvSpPr>
      <dsp:spPr>
        <a:xfrm>
          <a:off x="88470" y="3851828"/>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Make your goals, their goals.  Trip to Dave &amp; Busters upon completion, ice cream shop for a chapter</a:t>
          </a:r>
        </a:p>
      </dsp:txBody>
      <dsp:txXfrm>
        <a:off x="88470" y="3851828"/>
        <a:ext cx="5190818" cy="7591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431245" y="953"/>
          <a:ext cx="4488060" cy="332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431245" y="953"/>
        <a:ext cx="4488060" cy="332646"/>
      </dsp:txXfrm>
    </dsp:sp>
    <dsp:sp modelId="{51367107-8700-4A1B-B57E-EAECFB877859}">
      <dsp:nvSpPr>
        <dsp:cNvPr id="0" name=""/>
        <dsp:cNvSpPr/>
      </dsp:nvSpPr>
      <dsp:spPr>
        <a:xfrm>
          <a:off x="431245"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062067"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693388"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24210"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5530"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86352"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217673"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431245" y="416712"/>
          <a:ext cx="4546405" cy="66489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Excuses are Easy; Results are forever!  Just Do IT!</a:t>
          </a:r>
        </a:p>
      </dsp:txBody>
      <dsp:txXfrm>
        <a:off x="431245" y="416712"/>
        <a:ext cx="4546405" cy="664897"/>
      </dsp:txXfrm>
    </dsp:sp>
    <dsp:sp modelId="{E161D1FB-428E-4E87-809F-28ECDBB8395D}">
      <dsp:nvSpPr>
        <dsp:cNvPr id="0" name=""/>
        <dsp:cNvSpPr/>
      </dsp:nvSpPr>
      <dsp:spPr>
        <a:xfrm>
          <a:off x="431245" y="1207556"/>
          <a:ext cx="4488060" cy="4080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431245" y="1207556"/>
        <a:ext cx="4488060" cy="408005"/>
      </dsp:txXfrm>
    </dsp:sp>
    <dsp:sp modelId="{3A2A1305-7A52-4FD4-9F5E-897035FC881F}">
      <dsp:nvSpPr>
        <dsp:cNvPr id="0" name=""/>
        <dsp:cNvSpPr/>
      </dsp:nvSpPr>
      <dsp:spPr>
        <a:xfrm>
          <a:off x="431245"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062067"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693388"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24210"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5530"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86352"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217673"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431245" y="1698673"/>
          <a:ext cx="4546405" cy="66489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b="1" kern="1200" dirty="0"/>
            <a:t>What is your time worth?  When you are sitting in front of the tube, that is what it is costing you</a:t>
          </a:r>
        </a:p>
      </dsp:txBody>
      <dsp:txXfrm>
        <a:off x="431245" y="1698673"/>
        <a:ext cx="4546405" cy="6648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7C5C5C-27BB-4312-8A19-25E7DD9F1A62}">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Practice &amp; Experience</a:t>
          </a:r>
        </a:p>
      </dsp:txBody>
      <dsp:txXfrm>
        <a:off x="547303" y="942"/>
        <a:ext cx="4272674" cy="388424"/>
      </dsp:txXfrm>
    </dsp:sp>
    <dsp:sp modelId="{85CEC161-112B-4CD9-BE2D-B800BE6F9038}">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4C55E2-1E3C-4A39-8B1E-B93E9CCFB6E4}">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C0FA92-24F1-416E-BEC8-2F209C65A5BB}">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824CA5-4241-4D0C-94FE-2C33A7BAFD19}">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5D18AE-98F0-4802-A2C0-CAC4475A9A66}">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7A0C9B4-2717-4739-A556-BE89D380298C}">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C04F5B-F05F-4623-8534-324141AD2F23}">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C7CC22-1276-4B72-AF5D-7863C6152902}">
      <dsp:nvSpPr>
        <dsp:cNvPr id="0" name=""/>
        <dsp:cNvSpPr/>
      </dsp:nvSpPr>
      <dsp:spPr>
        <a:xfrm>
          <a:off x="547303" y="46849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NO SUBSTITUTE!  Do the labs; Azure @ Work</a:t>
          </a:r>
        </a:p>
      </dsp:txBody>
      <dsp:txXfrm>
        <a:off x="547303" y="468490"/>
        <a:ext cx="4328218" cy="632988"/>
      </dsp:txXfrm>
    </dsp:sp>
    <dsp:sp modelId="{9722DE8D-AF8E-48CB-BCFE-4B949D8CFB9B}">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Take the test</a:t>
          </a:r>
        </a:p>
      </dsp:txBody>
      <dsp:txXfrm>
        <a:off x="547303" y="1263385"/>
        <a:ext cx="4272674" cy="388424"/>
      </dsp:txXfrm>
    </dsp:sp>
    <dsp:sp modelId="{CCDC95B0-206D-4A5C-8336-4AB3EB6ED06C}">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38F071-683F-44DE-A835-C50D11088D7D}">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BA42FF-F4B6-4FC2-86B6-EFC2F086D1BE}">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3A743-7FF4-450B-8E6E-B4E1EF929D2B}">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59E5F4-204D-4A17-B0E7-445210005D14}">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D2D155-8B61-4099-9F77-1278418DC8EB}">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BACA11-FBD8-4580-BC14-313A0075ECE0}">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8DE373-4C16-43BA-8630-85A0426EFAB9}">
      <dsp:nvSpPr>
        <dsp:cNvPr id="0" name=""/>
        <dsp:cNvSpPr/>
      </dsp:nvSpPr>
      <dsp:spPr>
        <a:xfrm>
          <a:off x="547303" y="1730934"/>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2nd shot?  Much easier after you take it because you know where you are weak </a:t>
          </a:r>
          <a:r>
            <a:rPr lang="en-US" sz="1900" kern="1200" dirty="0">
              <a:sym typeface="Wingdings" panose="05000000000000000000" pitchFamily="2" charset="2"/>
            </a:rPr>
            <a:t></a:t>
          </a:r>
          <a:endParaRPr lang="en-US" sz="1900" kern="1200" dirty="0"/>
        </a:p>
      </dsp:txBody>
      <dsp:txXfrm>
        <a:off x="547303" y="1730934"/>
        <a:ext cx="4328218" cy="632988"/>
      </dsp:txXfrm>
    </dsp:sp>
    <dsp:sp modelId="{33546F62-5B4D-463E-A629-8D7CB5443E0A}">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Ultra Focus With Intent</a:t>
          </a:r>
          <a:endParaRPr lang="en-US" sz="2400" kern="1200" dirty="0"/>
        </a:p>
      </dsp:txBody>
      <dsp:txXfrm>
        <a:off x="547303" y="2525828"/>
        <a:ext cx="4272674" cy="388424"/>
      </dsp:txXfrm>
    </dsp:sp>
    <dsp:sp modelId="{0429CF0C-436E-4B08-9AAE-0B6DC525767F}">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46A7FC-A51E-4B6C-86BD-5A26735B215D}">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101A80-B9DF-4179-B688-E50E5B58A390}">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A59DE8-62E1-4EFF-BC01-ED85D5DB50DC}">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197D27-422E-4928-AC01-1C9A400C1613}">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0977BD-C1B3-464B-A9FB-0F547B90C9A4}">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4ED82B-3A30-4462-BB06-88779C06DE10}">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1ADDC0-7DD6-40BD-A435-6119E05C0184}">
      <dsp:nvSpPr>
        <dsp:cNvPr id="0" name=""/>
        <dsp:cNvSpPr/>
      </dsp:nvSpPr>
      <dsp:spPr>
        <a:xfrm>
          <a:off x="547303" y="2993377"/>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Don’t let your mind wander; You are on a mission to learn FAST!</a:t>
          </a:r>
        </a:p>
      </dsp:txBody>
      <dsp:txXfrm>
        <a:off x="547303" y="2993377"/>
        <a:ext cx="4328218" cy="632988"/>
      </dsp:txXfrm>
    </dsp:sp>
    <dsp:sp modelId="{F4F5E702-F8AF-4476-A9BE-16E6B315C8D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Objective – Pass the Exam!</a:t>
          </a:r>
        </a:p>
      </dsp:txBody>
      <dsp:txXfrm>
        <a:off x="547303" y="3788271"/>
        <a:ext cx="4272674" cy="388424"/>
      </dsp:txXfrm>
    </dsp:sp>
    <dsp:sp modelId="{847370B5-C8A8-4175-BFBC-900745DC9F55}">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4FF437-077E-435A-B4EB-74479F49352A}">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506A7C-0125-4D40-8134-3F5BCEF44072}">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9EAB88-F255-4BDE-AA3F-10155F959255}">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AEC293-28B9-4F39-BB7E-A69C5BACE444}">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ADE5D5-3BD7-4189-BCB0-C41B7B458231}">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0170BA-0FE0-470F-9347-114A5FDA8CED}">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A8A92A-21B6-4EEF-9E0D-938E2818B0AB}">
      <dsp:nvSpPr>
        <dsp:cNvPr id="0" name=""/>
        <dsp:cNvSpPr/>
      </dsp:nvSpPr>
      <dsp:spPr>
        <a:xfrm>
          <a:off x="547303" y="425582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After you pass the test, you can work on learning more and developing your career</a:t>
          </a:r>
        </a:p>
      </dsp:txBody>
      <dsp:txXfrm>
        <a:off x="547303" y="4255820"/>
        <a:ext cx="4328218" cy="6329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547303" y="942"/>
        <a:ext cx="4272674" cy="388424"/>
      </dsp:txXfrm>
    </dsp:sp>
    <dsp:sp modelId="{51367107-8700-4A1B-B57E-EAECFB877859}">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547303" y="46849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Excuses are Easy; Results are forever!  Just Do IT!</a:t>
          </a:r>
        </a:p>
      </dsp:txBody>
      <dsp:txXfrm>
        <a:off x="547303" y="468490"/>
        <a:ext cx="4328218" cy="632988"/>
      </dsp:txXfrm>
    </dsp:sp>
    <dsp:sp modelId="{E161D1FB-428E-4E87-809F-28ECDBB8395D}">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547303" y="1263385"/>
        <a:ext cx="4272674" cy="388424"/>
      </dsp:txXfrm>
    </dsp:sp>
    <dsp:sp modelId="{3A2A1305-7A52-4FD4-9F5E-897035FC881F}">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547303" y="1730934"/>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kern="1200" dirty="0"/>
            <a:t>What is your time worth?  When you are sitting in front of the tube, that is what it is costing you</a:t>
          </a:r>
        </a:p>
      </dsp:txBody>
      <dsp:txXfrm>
        <a:off x="547303" y="1730934"/>
        <a:ext cx="4328218" cy="632988"/>
      </dsp:txXfrm>
    </dsp:sp>
    <dsp:sp modelId="{4E668978-DD2E-4455-8F1B-460890CEDDD0}">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Dedicated Study time</a:t>
          </a:r>
        </a:p>
      </dsp:txBody>
      <dsp:txXfrm>
        <a:off x="547303" y="2525828"/>
        <a:ext cx="4272674" cy="388424"/>
      </dsp:txXfrm>
    </dsp:sp>
    <dsp:sp modelId="{1185CAAF-D23B-4B96-A044-FF5C28F24859}">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7A619F-E82B-4A9D-8E03-ADD7F3A04761}">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51AF3A-90E8-4FF7-94B9-607493F493F5}">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E46F09-FFC4-403D-8EAB-C5598E735292}">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CA0293-0467-42C1-98F1-C385719E54CD}">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2F9714-3B2C-41F8-ABA2-2AD13481E570}">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138509-142F-489D-97C1-413B3041444A}">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CEAD29-E03C-42DC-BC09-1B4E055CFC2D}">
      <dsp:nvSpPr>
        <dsp:cNvPr id="0" name=""/>
        <dsp:cNvSpPr/>
      </dsp:nvSpPr>
      <dsp:spPr>
        <a:xfrm>
          <a:off x="547303" y="2993377"/>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kern="1200" dirty="0"/>
            <a:t>30 mins Day/night Pick a time; make it happen!</a:t>
          </a:r>
        </a:p>
      </dsp:txBody>
      <dsp:txXfrm>
        <a:off x="547303" y="2993377"/>
        <a:ext cx="4328218" cy="632988"/>
      </dsp:txXfrm>
    </dsp:sp>
    <dsp:sp modelId="{C652C35B-E3D1-4411-B684-28295DBB62F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b" anchorCtr="0">
          <a:noAutofit/>
        </a:bodyPr>
        <a:lstStyle/>
        <a:p>
          <a:pPr marL="0" lvl="0" indent="0" algn="l" defTabSz="800100">
            <a:lnSpc>
              <a:spcPct val="90000"/>
            </a:lnSpc>
            <a:spcBef>
              <a:spcPct val="0"/>
            </a:spcBef>
            <a:spcAft>
              <a:spcPct val="35000"/>
            </a:spcAft>
            <a:buNone/>
          </a:pPr>
          <a:r>
            <a:rPr lang="en-US" sz="1800" b="1" kern="1200"/>
            <a:t>Read Faster</a:t>
          </a:r>
          <a:endParaRPr lang="en-US" sz="1800" b="1" kern="1200" dirty="0"/>
        </a:p>
      </dsp:txBody>
      <dsp:txXfrm>
        <a:off x="547303" y="3788271"/>
        <a:ext cx="4272674" cy="388424"/>
      </dsp:txXfrm>
    </dsp:sp>
    <dsp:sp modelId="{E6C1B811-16F7-40E6-A3C6-9BF9B07AD014}">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906D3E-1CF6-42BA-A2B7-544896BCA658}">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D45DDD-AB74-46CC-A22E-B43B6D6FFBFA}">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800A51-EEF9-4A11-ACDE-BFB6B164518D}">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33698D-2C70-4EDE-9B51-FF2453F479AB}">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DFE717-589A-4F64-8F5E-300331375BDC}">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718D9C-F534-46FD-99D4-42B12B4D0CF8}">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2D7890-8089-4415-8CDF-9540B6A09B9D}">
      <dsp:nvSpPr>
        <dsp:cNvPr id="0" name=""/>
        <dsp:cNvSpPr/>
      </dsp:nvSpPr>
      <dsp:spPr>
        <a:xfrm>
          <a:off x="547303" y="4316188"/>
          <a:ext cx="4328218" cy="512252"/>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DO NOT GO BACK! </a:t>
          </a:r>
          <a:endParaRPr lang="en-US" sz="1300" b="1" kern="1200" dirty="0"/>
        </a:p>
        <a:p>
          <a:pPr marL="0" lvl="0" indent="0" algn="l" defTabSz="577850">
            <a:lnSpc>
              <a:spcPct val="90000"/>
            </a:lnSpc>
            <a:spcBef>
              <a:spcPct val="0"/>
            </a:spcBef>
            <a:spcAft>
              <a:spcPct val="35000"/>
            </a:spcAft>
            <a:buNone/>
          </a:pPr>
          <a:r>
            <a:rPr lang="en-US" sz="1300" b="1" kern="1200" dirty="0"/>
            <a:t>Use your finger, keep it moving make eyes follow</a:t>
          </a:r>
        </a:p>
      </dsp:txBody>
      <dsp:txXfrm>
        <a:off x="547303" y="4316188"/>
        <a:ext cx="4328218" cy="512252"/>
      </dsp:txXfrm>
    </dsp:sp>
  </dsp:spTree>
</dsp:drawing>
</file>

<file path=ppt/diagrams/layout1.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4D26D1-8A32-4661-987C-BB7DFD4D4B9A}" type="datetimeFigureOut">
              <a:rPr lang="en-US" smtClean="0"/>
              <a:t>1/1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C21525-FA02-4EFB-9D77-E9C6E69B6435}" type="slidenum">
              <a:rPr lang="en-US" smtClean="0"/>
              <a:t>‹#›</a:t>
            </a:fld>
            <a:endParaRPr lang="en-US"/>
          </a:p>
        </p:txBody>
      </p:sp>
    </p:spTree>
    <p:extLst>
      <p:ext uri="{BB962C8B-B14F-4D97-AF65-F5344CB8AC3E}">
        <p14:creationId xmlns:p14="http://schemas.microsoft.com/office/powerpoint/2010/main" val="2838638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aka.ms/opensource"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fld id="{2A14FA6D-5CC1-477D-A0DC-F2245326A311}" type="datetime1">
              <a:rPr lang="en-US" smtClean="0"/>
              <a:t>1/18/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27144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0</a:t>
            </a:fld>
            <a:endParaRPr lang="en-US"/>
          </a:p>
        </p:txBody>
      </p:sp>
    </p:spTree>
    <p:extLst>
      <p:ext uri="{BB962C8B-B14F-4D97-AF65-F5344CB8AC3E}">
        <p14:creationId xmlns:p14="http://schemas.microsoft.com/office/powerpoint/2010/main" val="1241399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1</a:t>
            </a:fld>
            <a:endParaRPr lang="en-US"/>
          </a:p>
        </p:txBody>
      </p:sp>
    </p:spTree>
    <p:extLst>
      <p:ext uri="{BB962C8B-B14F-4D97-AF65-F5344CB8AC3E}">
        <p14:creationId xmlns:p14="http://schemas.microsoft.com/office/powerpoint/2010/main" val="1145358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2</a:t>
            </a:fld>
            <a:endParaRPr lang="en-US"/>
          </a:p>
        </p:txBody>
      </p:sp>
    </p:spTree>
    <p:extLst>
      <p:ext uri="{BB962C8B-B14F-4D97-AF65-F5344CB8AC3E}">
        <p14:creationId xmlns:p14="http://schemas.microsoft.com/office/powerpoint/2010/main" val="17456444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18/2018 8:41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13</a:t>
            </a:fld>
            <a:endParaRPr lang="en-US" altLang="en-US"/>
          </a:p>
        </p:txBody>
      </p:sp>
    </p:spTree>
    <p:extLst>
      <p:ext uri="{BB962C8B-B14F-4D97-AF65-F5344CB8AC3E}">
        <p14:creationId xmlns:p14="http://schemas.microsoft.com/office/powerpoint/2010/main" val="40339242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4</a:t>
            </a:fld>
            <a:endParaRPr lang="en-AU"/>
          </a:p>
        </p:txBody>
      </p:sp>
    </p:spTree>
    <p:extLst>
      <p:ext uri="{BB962C8B-B14F-4D97-AF65-F5344CB8AC3E}">
        <p14:creationId xmlns:p14="http://schemas.microsoft.com/office/powerpoint/2010/main" val="40347645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5</a:t>
            </a:fld>
            <a:endParaRPr lang="en-US"/>
          </a:p>
        </p:txBody>
      </p:sp>
    </p:spTree>
    <p:extLst>
      <p:ext uri="{BB962C8B-B14F-4D97-AF65-F5344CB8AC3E}">
        <p14:creationId xmlns:p14="http://schemas.microsoft.com/office/powerpoint/2010/main" val="41710685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6</a:t>
            </a:fld>
            <a:endParaRPr lang="en-US"/>
          </a:p>
        </p:txBody>
      </p:sp>
    </p:spTree>
    <p:extLst>
      <p:ext uri="{BB962C8B-B14F-4D97-AF65-F5344CB8AC3E}">
        <p14:creationId xmlns:p14="http://schemas.microsoft.com/office/powerpoint/2010/main" val="6933328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7</a:t>
            </a:fld>
            <a:endParaRPr lang="en-US"/>
          </a:p>
        </p:txBody>
      </p:sp>
    </p:spTree>
    <p:extLst>
      <p:ext uri="{BB962C8B-B14F-4D97-AF65-F5344CB8AC3E}">
        <p14:creationId xmlns:p14="http://schemas.microsoft.com/office/powerpoint/2010/main" val="37085092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2018 8:4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59693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tes coming soon – please </a:t>
            </a:r>
            <a:r>
              <a:rPr lang="en-US" b="0"/>
              <a:t>check </a:t>
            </a:r>
            <a:r>
              <a:rPr lang="en-US" sz="1200" b="0" kern="1200">
                <a:solidFill>
                  <a:schemeClr val="tx1"/>
                </a:solidFill>
                <a:latin typeface="+mn-lt"/>
                <a:ea typeface="+mn-ea"/>
                <a:cs typeface="+mn-cs"/>
              </a:rPr>
              <a:t>back on </a:t>
            </a:r>
            <a:r>
              <a:rPr kumimoji="0" lang="en-US" sz="1200" b="0" i="0" u="none" strike="noStrike" kern="0" cap="none" spc="0" normalizeH="0" baseline="0" noProof="0">
                <a:ln>
                  <a:noFill/>
                </a:ln>
                <a:solidFill>
                  <a:srgbClr val="00B0F0"/>
                </a:solidFill>
                <a:effectLst/>
                <a:uLnTx/>
                <a:uFillTx/>
                <a:hlinkClick r:id="rId3"/>
              </a:rPr>
              <a:t>http://aka.ms/opensource</a:t>
            </a:r>
            <a:r>
              <a:rPr kumimoji="0" lang="en-US" sz="1200" b="0" i="0" u="none" strike="noStrike" kern="0" cap="none" spc="0" normalizeH="0" baseline="0" noProof="0">
                <a:ln>
                  <a:noFill/>
                </a:ln>
                <a:solidFill>
                  <a:srgbClr val="00B0F0"/>
                </a:solidFill>
                <a:effectLst/>
                <a:uLnTx/>
                <a:uFillTx/>
              </a:rPr>
              <a:t> </a:t>
            </a:r>
            <a:r>
              <a:rPr lang="en-US" sz="1200" b="0" kern="1200" noProof="0">
                <a:solidFill>
                  <a:schemeClr val="tx1"/>
                </a:solidFill>
                <a:latin typeface="+mn-lt"/>
                <a:ea typeface="+mn-ea"/>
                <a:cs typeface="+mn-cs"/>
              </a:rPr>
              <a:t>for </a:t>
            </a:r>
            <a:r>
              <a:rPr lang="en-US" sz="1200" kern="1200" noProof="0">
                <a:solidFill>
                  <a:schemeClr val="tx1"/>
                </a:solidFill>
                <a:latin typeface="+mn-lt"/>
                <a:ea typeface="+mn-ea"/>
                <a:cs typeface="+mn-cs"/>
              </a:rPr>
              <a:t>latest version</a:t>
            </a:r>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75245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a:t>
            </a:fld>
            <a:endParaRPr lang="en-US"/>
          </a:p>
        </p:txBody>
      </p:sp>
    </p:spTree>
    <p:extLst>
      <p:ext uri="{BB962C8B-B14F-4D97-AF65-F5344CB8AC3E}">
        <p14:creationId xmlns:p14="http://schemas.microsoft.com/office/powerpoint/2010/main" val="28801923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0</a:t>
            </a:fld>
            <a:endParaRPr lang="en-US"/>
          </a:p>
        </p:txBody>
      </p:sp>
    </p:spTree>
    <p:extLst>
      <p:ext uri="{BB962C8B-B14F-4D97-AF65-F5344CB8AC3E}">
        <p14:creationId xmlns:p14="http://schemas.microsoft.com/office/powerpoint/2010/main" val="37374606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1</a:t>
            </a:fld>
            <a:endParaRPr lang="en-AU"/>
          </a:p>
        </p:txBody>
      </p:sp>
    </p:spTree>
    <p:extLst>
      <p:ext uri="{BB962C8B-B14F-4D97-AF65-F5344CB8AC3E}">
        <p14:creationId xmlns:p14="http://schemas.microsoft.com/office/powerpoint/2010/main" val="22303418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2</a:t>
            </a:fld>
            <a:endParaRPr lang="en-US"/>
          </a:p>
        </p:txBody>
      </p:sp>
    </p:spTree>
    <p:extLst>
      <p:ext uri="{BB962C8B-B14F-4D97-AF65-F5344CB8AC3E}">
        <p14:creationId xmlns:p14="http://schemas.microsoft.com/office/powerpoint/2010/main" val="2185621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3</a:t>
            </a:fld>
            <a:endParaRPr lang="en-US"/>
          </a:p>
        </p:txBody>
      </p:sp>
    </p:spTree>
    <p:extLst>
      <p:ext uri="{BB962C8B-B14F-4D97-AF65-F5344CB8AC3E}">
        <p14:creationId xmlns:p14="http://schemas.microsoft.com/office/powerpoint/2010/main" val="37524984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4</a:t>
            </a:fld>
            <a:endParaRPr lang="en-US"/>
          </a:p>
        </p:txBody>
      </p:sp>
    </p:spTree>
    <p:extLst>
      <p:ext uri="{BB962C8B-B14F-4D97-AF65-F5344CB8AC3E}">
        <p14:creationId xmlns:p14="http://schemas.microsoft.com/office/powerpoint/2010/main" val="35269649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5</a:t>
            </a:fld>
            <a:endParaRPr lang="en-US"/>
          </a:p>
        </p:txBody>
      </p:sp>
    </p:spTree>
    <p:extLst>
      <p:ext uri="{BB962C8B-B14F-4D97-AF65-F5344CB8AC3E}">
        <p14:creationId xmlns:p14="http://schemas.microsoft.com/office/powerpoint/2010/main" val="9197296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6</a:t>
            </a:fld>
            <a:endParaRPr lang="en-US"/>
          </a:p>
        </p:txBody>
      </p:sp>
    </p:spTree>
    <p:extLst>
      <p:ext uri="{BB962C8B-B14F-4D97-AF65-F5344CB8AC3E}">
        <p14:creationId xmlns:p14="http://schemas.microsoft.com/office/powerpoint/2010/main" val="29692927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ips, Tricks and Field Experiences Value of Certification: I want to make sure you are on board with the value of certification. Certification can offer many advantages including: getting a raise at your next review, preparing you for new job opportunities, increasing the likelihood your resume will be seen by the hiring manager, increasing your self confidence, increase you image (how people see you) in your business and in your social circles, lines on your resume, most hiring managers consider certification as part of their hiring criteria, you get experience while preparing for certification,…. and the list could go on and on. The fact of the matter is there is never any shortage of reasons why we should get certified. I am glad you have read this far… Make the decision to read this article in it’s entirety, then GET STARTED!!! Write down the reasons you want to obtain certification and look at them daily. Recognize Accomplishments: Recognize your accomplishments not matter how small. Feel good about the fact that you finished reading this article and realize that having done so has gotten you one step closer to obtaining your MCP in the Azure Cloud. Each time you finish something, even if it is just watching a 20 min video or reading a blog post that is relevant to the exam, recognize to yourself that it is a positive step in the right direction. Reflect back on why you want to do this in the first place. Get Family On Board: Often having family (spouse, kids,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on board with your goals and objectives will help you stay the course. Engage them, offer the kids a night out at Dave &amp; Busters or an ice cream shop once you pass the exam. Show them your great study habits, maybe they will pick some of them up for their school studies. Excuses: Excuses for not getting certified are easy to come by… I do not have time, can’t concentrate because of the kids, tired when home from work, my boss does not care anyway, it will not help me in my job… and on and on… Give it up! Stop making excuses; stop procrastinating and make the decision to put your career in motion! Keep doing what you have been doing, and you will keep getting what you have always gotten. Value of time: Put a value on your time. What is your time worth? When I was a consultant billing out $250 an hour, that was the value I had on my time. Now it is often somewhat less. Now, during my busy season, I use a value of $100 per hour. During my slow season, when I am much less stressed and work fewer hours, I use a value of $50 per hour. During the summer, family time, the value shoots back up to $250. This may seam silly but it will help you prioritize your time. It will also help you justify purchases. When you consider purchasing a $40 book it will be a no brainer. Spending $40 will potentially save you dozens of hours of time because you will be studying exactly what you need to know, nothing more, nothing less. It may help you decide you should just be taking a class to get this behind you quickly. Even if you just use a value of $10 per hour, it is important to pick a value for your time! If you are broke and have a zero value for your time, fake it. Put a value on your time anyway it will help you prioritize. Even if it is only $1, is sitting in front of the tube watching a sitcom by yourself worth a dollar? Not usually, get up and pick up a book or watch a certification video instead! Dedicated Study time: Set time on the calendar every day or every week for preparation. Just like any other appointment, take the attitude that you have to be there at the scheduled time to perform the duties that are expected of you. Blocking the time on the calendar then sticking to it is likely the single best thing you can do to help you succeed. Figure out what works best for you. Maybe it is 30 mins every day at lunch? How about 45 hour every night from 8:15pm-9:00pm? Whatever time block works for you is great. Personally, I find the best time for me is in the morning before work. This is when I am the most alert and can absorb the most information. I tend to get into the office before others, so I leverage the quite time as my personal development time. Try it, go into the office 45 minutes early to see if that works for you. You have to stick with it though, if you do it once and get distracted, don’t give up, try it a few more times. If people bug you, put a sign up letting them know you will be available for questions at 9:00am or whatever time you actually start working. Personally, when I am cramming, I will often spend 3-4 hours a day. I suffer from insomnia so I have plenty of extra time in my day. I prioritize that time on preparation. Ultra Focus With Intent: When you sit down to study, don’t take it lightly. Stay hyper-focused on learning. Don’t let your mind wander. You are on a very important mission. That mission is to learn as rapidly as possible. If you do this you will find that you will retain far more information and you will be able to consume it much faster. Read Faster: You can read faster. Use your ultra focus, it is a must to achieve this one. While reading, move your finger across the page or the screen at a steady pace, do not stop your finger, make sure your eyes focus on the word over your finger. It is ok if you miss a word or two, DO NOT GO BACK! Then when you master that move your finger faster, then faster, then faster. Eventually, you will be able to do this without the use of your finger as an aid.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Study Smart: I have studied for many exams and hold more certifications than I can put in my signature block. What I have found in preparing for all the exams I have taken is “it is easy to study the wrong thing”. You know, you go to a blog post or a white paper to get information about an exam and they are telling you to read some 380 page document or white paper. That is bogus, don’t waste you time. I would guess that if you did read that document, you may learn more and maybe get one or two more questions right. But at what cost? Better to cover the materials on the test than, everything there is to know about a topic. More on this later!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Exam Reference Material: There is often plenty of exam reference material available. Often it is even free. I will point you to some of it later in this article. If you do not mind spending a bit of money, I strongly recommend you just start with an exam reference guide. This could be much faster than spending countless hours learning what may or may not be on the exam. I am personally not a fan of just studying exam questions. I do find them useful, I just find having more context around the topic helps me retain it. by all means, try the practice tests, they be </a:t>
            </a:r>
            <a:r>
              <a:rPr lang="en-US" sz="1200" kern="1200" dirty="0" err="1">
                <a:solidFill>
                  <a:schemeClr val="tx1"/>
                </a:solidFill>
                <a:effectLst/>
                <a:latin typeface="+mn-lt"/>
                <a:ea typeface="+mn-ea"/>
                <a:cs typeface="+mn-cs"/>
              </a:rPr>
              <a:t>be</a:t>
            </a:r>
            <a:r>
              <a:rPr lang="en-US" sz="1200" kern="1200" dirty="0">
                <a:solidFill>
                  <a:schemeClr val="tx1"/>
                </a:solidFill>
                <a:effectLst/>
                <a:latin typeface="+mn-lt"/>
                <a:ea typeface="+mn-ea"/>
                <a:cs typeface="+mn-cs"/>
              </a:rPr>
              <a:t> helpful for you. Practice &amp; Experience: There is no substitute for practice other than maybe experience! Use the technology you are trying to learn. If you have the ability to use the technology in your job, even better! Take advantage of these opportunities. If the opportunities are not there, go out of your way to make opportunities. Think about how you might be able to use this technology in your job, then justify to yourself why it is important to understand the technology for your job. Most employers want their staff IT staff to keep up with technology. They often also will accept that you do it partially on work time. Especially if they know you are spending a bunch of personal time learning. Even if it is just setting up a lab environment, getting your hands dirty will go a very long way to you understanding the technology. Exam Objectives: Most exams (and all of Microsoft exams) have well documented Exam Objectives or Skills Measured. Use the Exam Objectives as a “list of things to learn”. Print out the exam objectives and check them off one at a time, as you search that topic and spend time learning it. For the cloud exam, I have done much of the work for you, you can just print this blog post. Like writing a book: I am in the process of writing a book on a certification exam. When writing a book on a topic, you do not automatically know everything there is to know about that topic. You are generally not in a situation where you know it all and want to write a book to share your vast knowledge on the subject. On the contrary, you may know a bunch about the topic, but to teach people everything they need to know to pass the test, you have to learn much, much more. The way I do this is using the Exam Objectives. I research &amp; learn what I can on each exam objectives, teaching and writing as I go. One of the other things you do prior to writing a book is, take the test. Take the test: Take the test, get a feel for what is on it. Microsoft offers a “2nd shot” so you can take the test a second time for free. Once you have gone through all of the exam objectives one time quickly, take the test to see how you do. This will give you a report so you can see what you need to study. As you are studying you will remember exam questions so you will know the relevance. After you pass the exam, if you want to learn more, use the exam report to study the things you did not ace (if you are so inclined.) What Exam: Figuring out what is the best exam to take next is often a challenge. Really though, it does not matter. See https://www.microsoft.com/learning whichever exam you chose will likely prepare you for what is next in your professional life because getting certified will make you better at it! If you are a general or specialized IT person start with 70-533. If you are a developer, start with 70-532. If you are an architect or infrastructure designer start with 70-534. If you are not sure, start with 70-533. Whatever you do, just start NOW! Once you pass the first cloud exam, go back and study the next one. Then repeat until you have passed them all. By then you should have caught the bug (the high that comes with a great accomplishment) and you will pick another topic and repeat! - See more at: http://itproguru.com/expert/2015/03/azure-cloud-certification-jump-start-70-532-70-533-70-534-exam-preparation/#sthash.sDikFZa4.dpuf</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7</a:t>
            </a:fld>
            <a:endParaRPr lang="en-US"/>
          </a:p>
        </p:txBody>
      </p:sp>
    </p:spTree>
    <p:extLst>
      <p:ext uri="{BB962C8B-B14F-4D97-AF65-F5344CB8AC3E}">
        <p14:creationId xmlns:p14="http://schemas.microsoft.com/office/powerpoint/2010/main" val="29205345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8</a:t>
            </a:fld>
            <a:endParaRPr lang="en-US"/>
          </a:p>
        </p:txBody>
      </p:sp>
    </p:spTree>
    <p:extLst>
      <p:ext uri="{BB962C8B-B14F-4D97-AF65-F5344CB8AC3E}">
        <p14:creationId xmlns:p14="http://schemas.microsoft.com/office/powerpoint/2010/main" val="24944558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9</a:t>
            </a:fld>
            <a:endParaRPr lang="en-US"/>
          </a:p>
        </p:txBody>
      </p:sp>
    </p:spTree>
    <p:extLst>
      <p:ext uri="{BB962C8B-B14F-4D97-AF65-F5344CB8AC3E}">
        <p14:creationId xmlns:p14="http://schemas.microsoft.com/office/powerpoint/2010/main" val="2199295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fld id="{A7994216-F9EE-4578-8C57-39E3A4EBAE32}" type="slidenum">
              <a:rPr lang="en-US" smtClean="0"/>
              <a:t>3</a:t>
            </a:fld>
            <a:endParaRPr lang="en-US"/>
          </a:p>
        </p:txBody>
      </p:sp>
    </p:spTree>
    <p:extLst>
      <p:ext uri="{BB962C8B-B14F-4D97-AF65-F5344CB8AC3E}">
        <p14:creationId xmlns:p14="http://schemas.microsoft.com/office/powerpoint/2010/main" val="1294887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900" u="sng" dirty="0">
                <a:solidFill>
                  <a:schemeClr val="tx2"/>
                </a:solidFill>
              </a:rPr>
              <a:t>http://aka.ms/70-534 – Once it goes live..</a:t>
            </a:r>
            <a:endParaRPr lang="en-US" dirty="0">
              <a:effectLst/>
            </a:endParaRPr>
          </a:p>
          <a:p>
            <a:pPr rtl="0"/>
            <a:r>
              <a:rPr lang="en-US" dirty="0">
                <a:effectLst/>
              </a:rPr>
              <a:t>Learn what you need to know to become a certified Azure Solutions Architect. We will go through the lessons found in the book 70-534 Architecting Microsoft Azure Solutions. We will wrap things up with our speakers (and authors of the book) doing a book signing so bring your copy of the book.</a:t>
            </a:r>
          </a:p>
          <a:p>
            <a:pPr rtl="0"/>
            <a:r>
              <a:rPr lang="en-US" dirty="0">
                <a:effectLst/>
              </a:rPr>
              <a:t>70-534 Introduction</a:t>
            </a:r>
          </a:p>
          <a:p>
            <a:pPr rtl="0"/>
            <a:r>
              <a:rPr lang="en-US" dirty="0">
                <a:effectLst/>
              </a:rPr>
              <a:t>Exam Tips and Tricks</a:t>
            </a:r>
          </a:p>
          <a:p>
            <a:pPr rtl="0"/>
            <a:r>
              <a:rPr lang="en-US" dirty="0">
                <a:effectLst/>
              </a:rPr>
              <a:t>Design an advanced application (15–20%)</a:t>
            </a:r>
          </a:p>
          <a:p>
            <a:pPr rtl="0"/>
            <a:r>
              <a:rPr lang="en-US" dirty="0">
                <a:effectLst/>
              </a:rPr>
              <a:t>Design websites (15–20%)</a:t>
            </a:r>
          </a:p>
          <a:p>
            <a:pPr rtl="0"/>
            <a:r>
              <a:rPr lang="en-US" dirty="0">
                <a:effectLst/>
              </a:rPr>
              <a:t>Design a management, monitoring, and business continuity strategy (15–20%)</a:t>
            </a:r>
          </a:p>
          <a:p>
            <a:pPr rtl="0"/>
            <a:r>
              <a:rPr lang="en-US" dirty="0">
                <a:effectLst/>
              </a:rPr>
              <a:t>Design Microsoft Azure infrastructure and networking (15–20%)</a:t>
            </a:r>
          </a:p>
          <a:p>
            <a:pPr rtl="0"/>
            <a:r>
              <a:rPr lang="en-US" dirty="0">
                <a:effectLst/>
              </a:rPr>
              <a:t>Secure resources (15–20%)</a:t>
            </a:r>
          </a:p>
          <a:p>
            <a:pPr rtl="0"/>
            <a:r>
              <a:rPr lang="en-US" dirty="0">
                <a:effectLst/>
              </a:rPr>
              <a:t>Design an application storage and data access strategy (15–20%)</a:t>
            </a:r>
          </a:p>
          <a:p>
            <a:pPr rtl="0"/>
            <a:r>
              <a:rPr lang="en-US" dirty="0">
                <a:effectLst/>
              </a:rPr>
              <a:t>Field Experiences</a:t>
            </a:r>
          </a:p>
          <a:p>
            <a:pPr rtl="0"/>
            <a:r>
              <a:rPr lang="en-US" dirty="0">
                <a:effectLst/>
              </a:rPr>
              <a:t>Book Signing – Authors Dan Stolts, Steve Maier</a:t>
            </a:r>
          </a:p>
          <a:p>
            <a:endParaRPr lang="en-US" dirty="0"/>
          </a:p>
        </p:txBody>
      </p:sp>
      <p:sp>
        <p:nvSpPr>
          <p:cNvPr id="4" name="Slide Number Placeholder 3"/>
          <p:cNvSpPr>
            <a:spLocks noGrp="1"/>
          </p:cNvSpPr>
          <p:nvPr>
            <p:ph type="sldNum" sz="quarter" idx="10"/>
          </p:nvPr>
        </p:nvSpPr>
        <p:spPr/>
        <p:txBody>
          <a:bodyPr/>
          <a:lstStyle/>
          <a:p>
            <a:fld id="{C4CA44E0-6ABB-4CBD-8351-69864DC90CE7}" type="slidenum">
              <a:rPr lang="en-US" smtClean="0"/>
              <a:t>30</a:t>
            </a:fld>
            <a:endParaRPr lang="en-US"/>
          </a:p>
        </p:txBody>
      </p:sp>
    </p:spTree>
    <p:extLst>
      <p:ext uri="{BB962C8B-B14F-4D97-AF65-F5344CB8AC3E}">
        <p14:creationId xmlns:p14="http://schemas.microsoft.com/office/powerpoint/2010/main" val="8852826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1</a:t>
            </a:fld>
            <a:endParaRPr lang="en-US"/>
          </a:p>
        </p:txBody>
      </p:sp>
    </p:spTree>
    <p:extLst>
      <p:ext uri="{BB962C8B-B14F-4D97-AF65-F5344CB8AC3E}">
        <p14:creationId xmlns:p14="http://schemas.microsoft.com/office/powerpoint/2010/main" val="5197661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2</a:t>
            </a:fld>
            <a:endParaRPr lang="en-US"/>
          </a:p>
        </p:txBody>
      </p:sp>
    </p:spTree>
    <p:extLst>
      <p:ext uri="{BB962C8B-B14F-4D97-AF65-F5344CB8AC3E}">
        <p14:creationId xmlns:p14="http://schemas.microsoft.com/office/powerpoint/2010/main" val="3167472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4</a:t>
            </a:fld>
            <a:endParaRPr lang="en-US"/>
          </a:p>
        </p:txBody>
      </p:sp>
    </p:spTree>
    <p:extLst>
      <p:ext uri="{BB962C8B-B14F-4D97-AF65-F5344CB8AC3E}">
        <p14:creationId xmlns:p14="http://schemas.microsoft.com/office/powerpoint/2010/main" val="4154394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18/2018 8:4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5523355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6</a:t>
            </a:fld>
            <a:endParaRPr lang="en-US"/>
          </a:p>
        </p:txBody>
      </p:sp>
    </p:spTree>
    <p:extLst>
      <p:ext uri="{BB962C8B-B14F-4D97-AF65-F5344CB8AC3E}">
        <p14:creationId xmlns:p14="http://schemas.microsoft.com/office/powerpoint/2010/main" val="13978442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18/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40970193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M = Application </a:t>
            </a:r>
            <a:r>
              <a:rPr lang="en-US" dirty="0" err="1"/>
              <a:t>Lifecylce</a:t>
            </a:r>
            <a:r>
              <a:rPr lang="en-US" dirty="0"/>
              <a:t> Management</a:t>
            </a:r>
          </a:p>
          <a:p>
            <a:r>
              <a:rPr lang="en-US" dirty="0"/>
              <a:t>SDLC = Software Development Lifecycle Management</a:t>
            </a:r>
          </a:p>
          <a:p>
            <a:r>
              <a:rPr lang="en-US" dirty="0"/>
              <a:t>https://blogs.msdn.microsoft.com/visualstudioalmrangers/2017/01/17/alm-sdlc-and-devops-which-witch-is-which/</a:t>
            </a:r>
          </a:p>
          <a:p>
            <a:endParaRPr lang="en-US" dirty="0"/>
          </a:p>
        </p:txBody>
      </p:sp>
      <p:sp>
        <p:nvSpPr>
          <p:cNvPr id="4" name="Slide Number Placeholder 3"/>
          <p:cNvSpPr>
            <a:spLocks noGrp="1"/>
          </p:cNvSpPr>
          <p:nvPr>
            <p:ph type="sldNum" sz="quarter" idx="10"/>
          </p:nvPr>
        </p:nvSpPr>
        <p:spPr/>
        <p:txBody>
          <a:bodyPr/>
          <a:lstStyle/>
          <a:p>
            <a:fld id="{81EBB3E9-BC4E-4DFC-8E11-430864F3D5ED}" type="slidenum">
              <a:rPr lang="en-US" smtClean="0"/>
              <a:t>8</a:t>
            </a:fld>
            <a:endParaRPr lang="en-US"/>
          </a:p>
        </p:txBody>
      </p:sp>
    </p:spTree>
    <p:extLst>
      <p:ext uri="{BB962C8B-B14F-4D97-AF65-F5344CB8AC3E}">
        <p14:creationId xmlns:p14="http://schemas.microsoft.com/office/powerpoint/2010/main" val="1163797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9</a:t>
            </a:fld>
            <a:endParaRPr lang="en-US"/>
          </a:p>
        </p:txBody>
      </p:sp>
    </p:spTree>
    <p:extLst>
      <p:ext uri="{BB962C8B-B14F-4D97-AF65-F5344CB8AC3E}">
        <p14:creationId xmlns:p14="http://schemas.microsoft.com/office/powerpoint/2010/main" val="40935847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1/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15870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7273597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0890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435290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761715"/>
          </a:xfrm>
        </p:spPr>
        <p:txBody>
          <a:bodyPr/>
          <a:lstStyle/>
          <a:p>
            <a:r>
              <a:rPr lang="en-US"/>
              <a:t>Click to edit Master title style</a:t>
            </a:r>
          </a:p>
        </p:txBody>
      </p:sp>
    </p:spTree>
    <p:extLst>
      <p:ext uri="{BB962C8B-B14F-4D97-AF65-F5344CB8AC3E}">
        <p14:creationId xmlns:p14="http://schemas.microsoft.com/office/powerpoint/2010/main" val="5505213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3"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507282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44804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7841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67513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354010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14924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423537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2653168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682384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1/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5635373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1/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7301102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1/1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2189431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1/1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78310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1/1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584174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494057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88390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C3E3B9-70CA-4D48-8F08-30C31143888B}" type="datetimeFigureOut">
              <a:rPr lang="en-US" smtClean="0"/>
              <a:t>1/1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7178788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5" r:id="rId16"/>
    <p:sldLayoutId id="2147483666" r:id="rId17"/>
    <p:sldLayoutId id="2147483667" r:id="rId18"/>
    <p:sldLayoutId id="2147483668" r:id="rId19"/>
    <p:sldLayoutId id="2147483669" r:id="rId20"/>
    <p:sldLayoutId id="2147483670"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hyperlink" Target="http://itproguru.com/" TargetMode="External"/><Relationship Id="rId7" Type="http://schemas.openxmlformats.org/officeDocument/2006/relationships/hyperlink" Target="http://mslibrary/Books/Pages/Bib/Bib_0361777.aspx" TargetMode="Externa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hyperlink" Target="http://twitter.com/itproguru" TargetMode="External"/><Relationship Id="rId5" Type="http://schemas.openxmlformats.org/officeDocument/2006/relationships/hyperlink" Target="http://linkedin.com/in/danstolts" TargetMode="External"/><Relationship Id="rId4" Type="http://schemas.openxmlformats.org/officeDocument/2006/relationships/hyperlink" Target="http://itproguru.com/join" TargetMode="Externa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hyperlink" Target="https://www.amazon.com/Phoenix-Project-DevOps-Helping-Business-ebook/dp/B00AZRBLHO" TargetMode="External"/><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8" Type="http://schemas.openxmlformats.org/officeDocument/2006/relationships/hyperlink" Target="https://en.wikipedia.org/wiki/Release_management" TargetMode="External"/><Relationship Id="rId13" Type="http://schemas.openxmlformats.org/officeDocument/2006/relationships/hyperlink" Target="http://www.thoughtworks.com/insights/blog/how-implement-hypothesis-driven-development" TargetMode="External"/><Relationship Id="rId18" Type="http://schemas.openxmlformats.org/officeDocument/2006/relationships/image" Target="../media/image25.png"/><Relationship Id="rId3" Type="http://schemas.openxmlformats.org/officeDocument/2006/relationships/hyperlink" Target="http://itrevolution.com/the-three-ways-principles-underpinning-devops/" TargetMode="External"/><Relationship Id="rId7" Type="http://schemas.openxmlformats.org/officeDocument/2006/relationships/hyperlink" Target="https://en.wikipedia.org/wiki/Application_performance_management" TargetMode="External"/><Relationship Id="rId12" Type="http://schemas.openxmlformats.org/officeDocument/2006/relationships/hyperlink" Target="http://mattvsts.blogspot.com/2013/11/feature-flags-cornerstone-of-continuous.html" TargetMode="External"/><Relationship Id="rId17" Type="http://schemas.openxmlformats.org/officeDocument/2006/relationships/image" Target="../media/image24.png"/><Relationship Id="rId2" Type="http://schemas.openxmlformats.org/officeDocument/2006/relationships/notesSlide" Target="../notesSlides/notesSlide16.xml"/><Relationship Id="rId16" Type="http://schemas.openxmlformats.org/officeDocument/2006/relationships/hyperlink" Target="https://en.wikipedia.org/wiki/A/B_testing" TargetMode="External"/><Relationship Id="rId1" Type="http://schemas.openxmlformats.org/officeDocument/2006/relationships/slideLayout" Target="../slideLayouts/slideLayout17.xml"/><Relationship Id="rId6" Type="http://schemas.openxmlformats.org/officeDocument/2006/relationships/hyperlink" Target="https://en.wikipedia.org/wiki/Test_automation" TargetMode="External"/><Relationship Id="rId11" Type="http://schemas.openxmlformats.org/officeDocument/2006/relationships/hyperlink" Target="https://en.wikipedia.org/wiki/Capacity_management" TargetMode="External"/><Relationship Id="rId5" Type="http://schemas.openxmlformats.org/officeDocument/2006/relationships/hyperlink" Target="https://en.wikipedia.org/wiki/Continuous_integration" TargetMode="External"/><Relationship Id="rId15" Type="http://schemas.openxmlformats.org/officeDocument/2006/relationships/hyperlink" Target="https://en.wikipedia.org/wiki/Fault_injection" TargetMode="External"/><Relationship Id="rId10" Type="http://schemas.openxmlformats.org/officeDocument/2006/relationships/hyperlink" Target="https://en.wikipedia.org/wiki/Synthetic_monitoring" TargetMode="External"/><Relationship Id="rId19" Type="http://schemas.openxmlformats.org/officeDocument/2006/relationships/image" Target="../media/image26.png"/><Relationship Id="rId4" Type="http://schemas.openxmlformats.org/officeDocument/2006/relationships/hyperlink" Target="http://www.microsoft.com/en-us/download/details.aspx?id=46403" TargetMode="External"/><Relationship Id="rId9" Type="http://schemas.openxmlformats.org/officeDocument/2006/relationships/hyperlink" Target="https://en.wikipedia.org/wiki/Configuration_management" TargetMode="External"/><Relationship Id="rId14" Type="http://schemas.openxmlformats.org/officeDocument/2006/relationships/hyperlink" Target="http://www.neotys.com/blog/tips-for-testing-in-production/"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30.jpg"/><Relationship Id="rId5" Type="http://schemas.openxmlformats.org/officeDocument/2006/relationships/image" Target="../media/image29.jpeg"/><Relationship Id="rId4" Type="http://schemas.openxmlformats.org/officeDocument/2006/relationships/image" Target="../media/image28.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8.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hyperlink" Target="https://www.microsoft.com/en-us/learning/exam-70-534.aspx#syllabus-5" TargetMode="External"/><Relationship Id="rId3" Type="http://schemas.openxmlformats.org/officeDocument/2006/relationships/image" Target="../media/image35.jpg"/><Relationship Id="rId7" Type="http://schemas.openxmlformats.org/officeDocument/2006/relationships/hyperlink" Target="https://www.microsoft.com/en-us/learning/exam-70-534.aspx#syllabus-4" TargetMode="External"/><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hyperlink" Target="https://www.microsoft.com/en-us/learning/exam-70-534.aspx#syllabus-3" TargetMode="External"/><Relationship Id="rId5" Type="http://schemas.openxmlformats.org/officeDocument/2006/relationships/hyperlink" Target="https://www.microsoft.com/en-us/learning/exam-70-534.aspx#syllabus-2" TargetMode="External"/><Relationship Id="rId10" Type="http://schemas.openxmlformats.org/officeDocument/2006/relationships/hyperlink" Target="https://www.microsoft.com/en-us/learning/exam-70-534.aspx#syllabus-7" TargetMode="External"/><Relationship Id="rId4" Type="http://schemas.openxmlformats.org/officeDocument/2006/relationships/hyperlink" Target="https://www.microsoft.com/en-us/learning/exam-70-534.aspx#syllabus-1" TargetMode="External"/><Relationship Id="rId9" Type="http://schemas.openxmlformats.org/officeDocument/2006/relationships/hyperlink" Target="https://www.microsoft.com/en-us/learning/exam-70-534.aspx#syllabus-6"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1.xml"/><Relationship Id="rId1" Type="http://schemas.openxmlformats.org/officeDocument/2006/relationships/slideLayout" Target="../slideLayouts/slideLayout13.xml"/><Relationship Id="rId5" Type="http://schemas.openxmlformats.org/officeDocument/2006/relationships/image" Target="../media/image38.png"/><Relationship Id="rId4" Type="http://schemas.openxmlformats.org/officeDocument/2006/relationships/image" Target="../media/image37.png"/></Relationships>
</file>

<file path=ppt/slides/_rels/slide32.xml.rels><?xml version="1.0" encoding="UTF-8" standalone="yes"?>
<Relationships xmlns="http://schemas.openxmlformats.org/package/2006/relationships"><Relationship Id="rId8" Type="http://schemas.openxmlformats.org/officeDocument/2006/relationships/hyperlink" Target="https://www.microsoft.com/en-us/learning/default.aspx" TargetMode="External"/><Relationship Id="rId3" Type="http://schemas.openxmlformats.org/officeDocument/2006/relationships/hyperlink" Target="https://mva.microsoft.com/product-training/microsoft-azure" TargetMode="External"/><Relationship Id="rId7" Type="http://schemas.openxmlformats.org/officeDocument/2006/relationships/hyperlink" Target="https://learning.linkedin.com/in/overview" TargetMode="External"/><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hyperlink" Target="https://mva.microsoft.com/search/SearchResults.aspx" TargetMode="External"/><Relationship Id="rId5" Type="http://schemas.openxmlformats.org/officeDocument/2006/relationships/hyperlink" Target="https://openedx.microsoft.com/courses/course-v1:Microsoft+Azure213x+2016_T4/" TargetMode="External"/><Relationship Id="rId4" Type="http://schemas.openxmlformats.org/officeDocument/2006/relationships/hyperlink" Target="https://www.visualstudio.com/dev-essential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emf"/></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9.jpg"/></Relationships>
</file>

<file path=ppt/slides/_rels/slide7.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92088"/>
            <a:ext cx="8902700" cy="1489075"/>
          </a:xfrm>
        </p:spPr>
        <p:txBody>
          <a:bodyPr>
            <a:normAutofit fontScale="90000"/>
          </a:bodyPr>
          <a:lstStyle/>
          <a:p>
            <a:pPr>
              <a:spcBef>
                <a:spcPts val="0"/>
              </a:spcBef>
              <a:spcAft>
                <a:spcPts val="333"/>
              </a:spcAft>
              <a:defRPr/>
            </a:pPr>
            <a:r>
              <a:rPr lang="en-US" dirty="0"/>
              <a:t>Exam Jump Start 70-535</a:t>
            </a:r>
            <a:br>
              <a:rPr lang="en-US" dirty="0"/>
            </a:br>
            <a:r>
              <a:rPr lang="en-US" sz="4900" dirty="0">
                <a:effectLst>
                  <a:outerShdw blurRad="38100" dist="38100" dir="2700000" algn="tl">
                    <a:srgbClr val="000000">
                      <a:alpha val="43137"/>
                    </a:srgbClr>
                  </a:outerShdw>
                </a:effectLst>
              </a:rPr>
              <a:t>Architecting Microsoft Azure Solutions</a:t>
            </a:r>
            <a:br>
              <a:rPr lang="en-US" sz="4900" dirty="0">
                <a:effectLst>
                  <a:outerShdw blurRad="38100" dist="38100" dir="2700000" algn="tl">
                    <a:srgbClr val="000000">
                      <a:alpha val="43137"/>
                    </a:srgbClr>
                  </a:outerShdw>
                </a:effectLst>
              </a:rPr>
            </a:br>
            <a:r>
              <a:rPr lang="en-US" sz="4900" dirty="0">
                <a:effectLst>
                  <a:outerShdw blurRad="38100" dist="38100" dir="2700000" algn="tl">
                    <a:srgbClr val="000000">
                      <a:alpha val="43137"/>
                    </a:srgbClr>
                  </a:outerShdw>
                </a:effectLst>
              </a:rPr>
              <a:t>DevOps and Next Steps </a:t>
            </a:r>
            <a:endParaRPr lang="en-US" dirty="0">
              <a:effectLst>
                <a:outerShdw blurRad="38100" dist="38100" dir="2700000" algn="tl">
                  <a:srgbClr val="000000">
                    <a:alpha val="43137"/>
                  </a:srgbClr>
                </a:outerShdw>
              </a:effectLst>
            </a:endParaRPr>
          </a:p>
        </p:txBody>
      </p:sp>
      <p:sp>
        <p:nvSpPr>
          <p:cNvPr id="7" name="Text Placeholder 4"/>
          <p:cNvSpPr txBox="1">
            <a:spLocks/>
          </p:cNvSpPr>
          <p:nvPr/>
        </p:nvSpPr>
        <p:spPr>
          <a:xfrm>
            <a:off x="735474" y="2115794"/>
            <a:ext cx="5715726" cy="2629006"/>
          </a:xfrm>
          <a:prstGeom prst="rect">
            <a:avLst/>
          </a:prstGeom>
          <a:noFill/>
          <a:ln>
            <a:solidFill>
              <a:srgbClr val="00B050"/>
            </a:solidFill>
          </a:ln>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6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Dan Stolts - Author</a:t>
            </a:r>
          </a:p>
          <a:p>
            <a:r>
              <a:rPr lang="en-US" sz="2400" dirty="0"/>
              <a:t>Chief Technology Strategist, Microsoft</a:t>
            </a:r>
          </a:p>
          <a:p>
            <a:r>
              <a:rPr lang="en-US" sz="2400" dirty="0">
                <a:hlinkClick r:id="rId3"/>
              </a:rPr>
              <a:t>http://ITProGuru.com</a:t>
            </a:r>
            <a:endParaRPr lang="en-US" sz="2400" dirty="0"/>
          </a:p>
          <a:p>
            <a:r>
              <a:rPr lang="en-US" sz="2400" dirty="0">
                <a:hlinkClick r:id="rId4"/>
              </a:rPr>
              <a:t>http://ITProGuru.com/join</a:t>
            </a:r>
            <a:endParaRPr lang="en-US" sz="2400" dirty="0"/>
          </a:p>
          <a:p>
            <a:r>
              <a:rPr lang="en-US" sz="2400" dirty="0">
                <a:hlinkClick r:id="rId5"/>
              </a:rPr>
              <a:t>http://LinkedIn.com/in/danstolts</a:t>
            </a:r>
            <a:r>
              <a:rPr lang="en-US" sz="2400" dirty="0"/>
              <a:t>  </a:t>
            </a:r>
          </a:p>
          <a:p>
            <a:r>
              <a:rPr lang="en-US" sz="2400" dirty="0"/>
              <a:t>ITProGuru@Microsoft.com</a:t>
            </a:r>
          </a:p>
          <a:p>
            <a:r>
              <a:rPr lang="en-US" sz="2400" dirty="0">
                <a:hlinkClick r:id="rId6"/>
              </a:rPr>
              <a:t>@ITProGuru</a:t>
            </a:r>
            <a:endParaRPr lang="en-US" sz="2400" dirty="0"/>
          </a:p>
        </p:txBody>
      </p:sp>
      <p:pic>
        <p:nvPicPr>
          <p:cNvPr id="6" name="Picture 5">
            <a:hlinkClick r:id="rId7"/>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49601" y="1498215"/>
            <a:ext cx="3695530" cy="4534391"/>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83266" y="192088"/>
            <a:ext cx="2601573" cy="555436"/>
          </a:xfrm>
          <a:prstGeom prst="rect">
            <a:avLst/>
          </a:prstGeom>
          <a:solidFill>
            <a:schemeClr val="bg1"/>
          </a:solidFill>
        </p:spPr>
      </p:pic>
      <p:sp>
        <p:nvSpPr>
          <p:cNvPr id="8" name="TextBox 7"/>
          <p:cNvSpPr txBox="1"/>
          <p:nvPr/>
        </p:nvSpPr>
        <p:spPr>
          <a:xfrm>
            <a:off x="7722977" y="6222652"/>
            <a:ext cx="4122153" cy="523220"/>
          </a:xfrm>
          <a:prstGeom prst="rect">
            <a:avLst/>
          </a:prstGeom>
          <a:noFill/>
          <a:ln>
            <a:solidFill>
              <a:srgbClr val="0070C0"/>
            </a:solidFill>
          </a:ln>
        </p:spPr>
        <p:txBody>
          <a:bodyPr wrap="square" rtlCol="0">
            <a:spAutoFit/>
          </a:bodyPr>
          <a:lstStyle/>
          <a:p>
            <a:pPr algn="ctr"/>
            <a:r>
              <a:rPr lang="en-US" sz="2800" dirty="0"/>
              <a:t>Microsoft Virtual Academy</a:t>
            </a:r>
          </a:p>
        </p:txBody>
      </p:sp>
      <p:sp>
        <p:nvSpPr>
          <p:cNvPr id="9" name="Decagon 8"/>
          <p:cNvSpPr/>
          <p:nvPr/>
        </p:nvSpPr>
        <p:spPr>
          <a:xfrm>
            <a:off x="599521" y="5127571"/>
            <a:ext cx="6097311" cy="1576604"/>
          </a:xfrm>
          <a:prstGeom prst="decagon">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3600" b="1" dirty="0">
                <a:solidFill>
                  <a:srgbClr val="0070C0"/>
                </a:solidFill>
              </a:rPr>
              <a:t>Join…</a:t>
            </a:r>
          </a:p>
          <a:p>
            <a:pPr algn="ctr"/>
            <a:r>
              <a:rPr lang="en-US" sz="3600" b="1" dirty="0">
                <a:solidFill>
                  <a:srgbClr val="0070C0"/>
                </a:solidFill>
              </a:rPr>
              <a:t>ITProGuru.com/Join</a:t>
            </a:r>
            <a:endParaRPr lang="en-US" sz="3600" dirty="0">
              <a:solidFill>
                <a:srgbClr val="0070C0"/>
              </a:solidFill>
            </a:endParaRPr>
          </a:p>
        </p:txBody>
      </p:sp>
      <p:sp>
        <p:nvSpPr>
          <p:cNvPr id="2" name="TextBox 1">
            <a:extLst>
              <a:ext uri="{FF2B5EF4-FFF2-40B4-BE49-F238E27FC236}">
                <a16:creationId xmlns:a16="http://schemas.microsoft.com/office/drawing/2014/main" id="{A44A372A-2950-458C-BF58-F538414ADCF2}"/>
              </a:ext>
            </a:extLst>
          </p:cNvPr>
          <p:cNvSpPr txBox="1"/>
          <p:nvPr/>
        </p:nvSpPr>
        <p:spPr>
          <a:xfrm>
            <a:off x="11375923" y="3677265"/>
            <a:ext cx="469207" cy="646331"/>
          </a:xfrm>
          <a:prstGeom prst="rect">
            <a:avLst/>
          </a:prstGeom>
          <a:solidFill>
            <a:schemeClr val="tx1"/>
          </a:solidFill>
        </p:spPr>
        <p:txBody>
          <a:bodyPr wrap="square" rtlCol="0">
            <a:spAutoFit/>
          </a:bodyPr>
          <a:lstStyle/>
          <a:p>
            <a:r>
              <a:rPr lang="en-US" sz="3600" dirty="0">
                <a:solidFill>
                  <a:schemeClr val="bg1"/>
                </a:solidFill>
              </a:rPr>
              <a:t>5</a:t>
            </a:r>
          </a:p>
        </p:txBody>
      </p:sp>
      <p:cxnSp>
        <p:nvCxnSpPr>
          <p:cNvPr id="5" name="Straight Connector 4">
            <a:extLst>
              <a:ext uri="{FF2B5EF4-FFF2-40B4-BE49-F238E27FC236}">
                <a16:creationId xmlns:a16="http://schemas.microsoft.com/office/drawing/2014/main" id="{A7633C27-292B-43D2-AF33-DD9F1C5095FE}"/>
              </a:ext>
            </a:extLst>
          </p:cNvPr>
          <p:cNvCxnSpPr>
            <a:cxnSpLocks/>
          </p:cNvCxnSpPr>
          <p:nvPr/>
        </p:nvCxnSpPr>
        <p:spPr>
          <a:xfrm flipH="1">
            <a:off x="11456526" y="4434348"/>
            <a:ext cx="363792" cy="457200"/>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cxnSp>
        <p:nvCxnSpPr>
          <p:cNvPr id="13" name="Straight Connector 12">
            <a:extLst>
              <a:ext uri="{FF2B5EF4-FFF2-40B4-BE49-F238E27FC236}">
                <a16:creationId xmlns:a16="http://schemas.microsoft.com/office/drawing/2014/main" id="{FDF9BEA1-FD83-47DB-904D-FA45C6DC2829}"/>
              </a:ext>
            </a:extLst>
          </p:cNvPr>
          <p:cNvCxnSpPr>
            <a:cxnSpLocks/>
          </p:cNvCxnSpPr>
          <p:nvPr/>
        </p:nvCxnSpPr>
        <p:spPr>
          <a:xfrm>
            <a:off x="11503742" y="4513642"/>
            <a:ext cx="265189" cy="338577"/>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382952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9E812-BECA-4FD0-BBF0-5F755A99C92D}"/>
              </a:ext>
            </a:extLst>
          </p:cNvPr>
          <p:cNvSpPr>
            <a:spLocks noGrp="1"/>
          </p:cNvSpPr>
          <p:nvPr>
            <p:ph type="title"/>
          </p:nvPr>
        </p:nvSpPr>
        <p:spPr>
          <a:xfrm>
            <a:off x="288533" y="354851"/>
            <a:ext cx="10515600" cy="1325563"/>
          </a:xfrm>
        </p:spPr>
        <p:txBody>
          <a:bodyPr/>
          <a:lstStyle/>
          <a:p>
            <a:r>
              <a:rPr lang="en-US" dirty="0"/>
              <a:t>Before</a:t>
            </a:r>
            <a:br>
              <a:rPr lang="en-US" dirty="0"/>
            </a:br>
            <a:r>
              <a:rPr lang="en-US" dirty="0"/>
              <a:t>DevOps</a:t>
            </a:r>
          </a:p>
        </p:txBody>
      </p:sp>
      <p:pic>
        <p:nvPicPr>
          <p:cNvPr id="3" name="Picture 2">
            <a:extLst>
              <a:ext uri="{FF2B5EF4-FFF2-40B4-BE49-F238E27FC236}">
                <a16:creationId xmlns:a16="http://schemas.microsoft.com/office/drawing/2014/main" id="{4DC7A7A4-FAEA-4A48-A8DB-6AACAB72928A}"/>
              </a:ext>
            </a:extLst>
          </p:cNvPr>
          <p:cNvPicPr>
            <a:picLocks noChangeAspect="1"/>
          </p:cNvPicPr>
          <p:nvPr/>
        </p:nvPicPr>
        <p:blipFill>
          <a:blip r:embed="rId3"/>
          <a:stretch>
            <a:fillRect/>
          </a:stretch>
        </p:blipFill>
        <p:spPr>
          <a:xfrm>
            <a:off x="2802533" y="344800"/>
            <a:ext cx="9389467" cy="6513200"/>
          </a:xfrm>
          <a:prstGeom prst="rect">
            <a:avLst/>
          </a:prstGeom>
        </p:spPr>
      </p:pic>
      <p:sp>
        <p:nvSpPr>
          <p:cNvPr id="4" name="TextBox 3">
            <a:extLst>
              <a:ext uri="{FF2B5EF4-FFF2-40B4-BE49-F238E27FC236}">
                <a16:creationId xmlns:a16="http://schemas.microsoft.com/office/drawing/2014/main" id="{F18E26BC-1AC9-442F-BA77-AF3150CDAF53}"/>
              </a:ext>
            </a:extLst>
          </p:cNvPr>
          <p:cNvSpPr txBox="1"/>
          <p:nvPr/>
        </p:nvSpPr>
        <p:spPr>
          <a:xfrm>
            <a:off x="406286" y="4833643"/>
            <a:ext cx="4298938" cy="2123658"/>
          </a:xfrm>
          <a:prstGeom prst="rect">
            <a:avLst/>
          </a:prstGeom>
          <a:noFill/>
        </p:spPr>
        <p:txBody>
          <a:bodyPr wrap="square" rtlCol="0">
            <a:spAutoFit/>
          </a:bodyPr>
          <a:lstStyle/>
          <a:p>
            <a:pPr marL="342900" indent="-342900">
              <a:buFont typeface="Arial" panose="020B0604020202020204" pitchFamily="34" charset="0"/>
              <a:buChar char="•"/>
            </a:pPr>
            <a:r>
              <a:rPr lang="en-US" sz="2800" dirty="0"/>
              <a:t>2 Week Lead time</a:t>
            </a:r>
          </a:p>
          <a:p>
            <a:pPr marL="342900" indent="-342900">
              <a:buFont typeface="Arial" panose="020B0604020202020204" pitchFamily="34" charset="0"/>
              <a:buChar char="•"/>
            </a:pPr>
            <a:r>
              <a:rPr lang="en-US" sz="2800" dirty="0"/>
              <a:t>1-3 Months Processing</a:t>
            </a:r>
          </a:p>
          <a:p>
            <a:pPr marL="342900" indent="-342900">
              <a:buFont typeface="Arial" panose="020B0604020202020204" pitchFamily="34" charset="0"/>
              <a:buChar char="•"/>
            </a:pPr>
            <a:r>
              <a:rPr lang="en-US" sz="2800" dirty="0"/>
              <a:t>Waste in every step</a:t>
            </a:r>
          </a:p>
          <a:p>
            <a:endParaRPr lang="en-US" sz="2800" dirty="0"/>
          </a:p>
          <a:p>
            <a:endParaRPr lang="en-US" sz="2000" dirty="0"/>
          </a:p>
        </p:txBody>
      </p:sp>
      <p:sp>
        <p:nvSpPr>
          <p:cNvPr id="5" name="Rectangle 4">
            <a:extLst>
              <a:ext uri="{FF2B5EF4-FFF2-40B4-BE49-F238E27FC236}">
                <a16:creationId xmlns:a16="http://schemas.microsoft.com/office/drawing/2014/main" id="{D8F8DA41-AF31-4B0C-982E-56CE30658178}"/>
              </a:ext>
            </a:extLst>
          </p:cNvPr>
          <p:cNvSpPr/>
          <p:nvPr/>
        </p:nvSpPr>
        <p:spPr>
          <a:xfrm>
            <a:off x="86734" y="1889448"/>
            <a:ext cx="2845652" cy="1938992"/>
          </a:xfrm>
          <a:prstGeom prst="rect">
            <a:avLst/>
          </a:prstGeom>
        </p:spPr>
        <p:txBody>
          <a:bodyPr wrap="square">
            <a:spAutoFit/>
          </a:bodyPr>
          <a:lstStyle/>
          <a:p>
            <a:pPr marL="457200" indent="-457200">
              <a:buFont typeface="Arial" panose="020B0604020202020204" pitchFamily="34" charset="0"/>
              <a:buChar char="•"/>
            </a:pPr>
            <a:r>
              <a:rPr lang="en-US" sz="2000" dirty="0"/>
              <a:t>How long does it take?</a:t>
            </a:r>
          </a:p>
          <a:p>
            <a:pPr marL="457200" indent="-457200">
              <a:buFont typeface="Arial" panose="020B0604020202020204" pitchFamily="34" charset="0"/>
              <a:buChar char="•"/>
            </a:pPr>
            <a:r>
              <a:rPr lang="en-US" sz="2000" dirty="0"/>
              <a:t>Where is the waste? </a:t>
            </a:r>
          </a:p>
          <a:p>
            <a:pPr marL="457200" indent="-457200">
              <a:buFont typeface="Arial" panose="020B0604020202020204" pitchFamily="34" charset="0"/>
              <a:buChar char="•"/>
            </a:pPr>
            <a:r>
              <a:rPr lang="en-US" sz="2000" dirty="0"/>
              <a:t>How much waste</a:t>
            </a:r>
          </a:p>
          <a:p>
            <a:pPr marL="457200" indent="-457200">
              <a:buFont typeface="Arial" panose="020B0604020202020204" pitchFamily="34" charset="0"/>
              <a:buChar char="•"/>
            </a:pPr>
            <a:r>
              <a:rPr lang="en-US" sz="2000" dirty="0"/>
              <a:t>Total time?</a:t>
            </a:r>
          </a:p>
          <a:p>
            <a:pPr marL="457200" indent="-457200">
              <a:buFont typeface="Arial" panose="020B0604020202020204" pitchFamily="34" charset="0"/>
              <a:buChar char="•"/>
            </a:pPr>
            <a:r>
              <a:rPr lang="en-US" sz="2000" dirty="0"/>
              <a:t>Homerun: Total Cost</a:t>
            </a:r>
          </a:p>
        </p:txBody>
      </p:sp>
    </p:spTree>
    <p:extLst>
      <p:ext uri="{BB962C8B-B14F-4D97-AF65-F5344CB8AC3E}">
        <p14:creationId xmlns:p14="http://schemas.microsoft.com/office/powerpoint/2010/main" val="16446066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290F8-AE78-45CD-B9D6-15766B2934C9}"/>
              </a:ext>
            </a:extLst>
          </p:cNvPr>
          <p:cNvSpPr>
            <a:spLocks noGrp="1"/>
          </p:cNvSpPr>
          <p:nvPr>
            <p:ph type="title"/>
          </p:nvPr>
        </p:nvSpPr>
        <p:spPr>
          <a:xfrm>
            <a:off x="384028" y="262179"/>
            <a:ext cx="10515600" cy="1325563"/>
          </a:xfrm>
        </p:spPr>
        <p:txBody>
          <a:bodyPr/>
          <a:lstStyle/>
          <a:p>
            <a:r>
              <a:rPr lang="en-US" dirty="0"/>
              <a:t>After </a:t>
            </a:r>
            <a:br>
              <a:rPr lang="en-US" dirty="0"/>
            </a:br>
            <a:r>
              <a:rPr lang="en-US" dirty="0"/>
              <a:t>DevOps</a:t>
            </a:r>
          </a:p>
        </p:txBody>
      </p:sp>
      <p:pic>
        <p:nvPicPr>
          <p:cNvPr id="3" name="Picture 2">
            <a:extLst>
              <a:ext uri="{FF2B5EF4-FFF2-40B4-BE49-F238E27FC236}">
                <a16:creationId xmlns:a16="http://schemas.microsoft.com/office/drawing/2014/main" id="{91568B20-87A3-4EF0-ABFF-E0E7B4ED5478}"/>
              </a:ext>
            </a:extLst>
          </p:cNvPr>
          <p:cNvPicPr>
            <a:picLocks noChangeAspect="1"/>
          </p:cNvPicPr>
          <p:nvPr/>
        </p:nvPicPr>
        <p:blipFill>
          <a:blip r:embed="rId3"/>
          <a:stretch>
            <a:fillRect/>
          </a:stretch>
        </p:blipFill>
        <p:spPr>
          <a:xfrm>
            <a:off x="3673948" y="333060"/>
            <a:ext cx="8194750" cy="6355852"/>
          </a:xfrm>
          <a:prstGeom prst="rect">
            <a:avLst/>
          </a:prstGeom>
        </p:spPr>
      </p:pic>
      <p:sp>
        <p:nvSpPr>
          <p:cNvPr id="4" name="TextBox 3">
            <a:extLst>
              <a:ext uri="{FF2B5EF4-FFF2-40B4-BE49-F238E27FC236}">
                <a16:creationId xmlns:a16="http://schemas.microsoft.com/office/drawing/2014/main" id="{C19F6A91-52B1-43AF-A88A-5E04CCB6DA64}"/>
              </a:ext>
            </a:extLst>
          </p:cNvPr>
          <p:cNvSpPr txBox="1"/>
          <p:nvPr/>
        </p:nvSpPr>
        <p:spPr>
          <a:xfrm>
            <a:off x="545566" y="1836484"/>
            <a:ext cx="3419395" cy="5047536"/>
          </a:xfrm>
          <a:prstGeom prst="rect">
            <a:avLst/>
          </a:prstGeom>
          <a:noFill/>
        </p:spPr>
        <p:txBody>
          <a:bodyPr wrap="square" rtlCol="0">
            <a:spAutoFit/>
          </a:bodyPr>
          <a:lstStyle/>
          <a:p>
            <a:pPr marL="342900" indent="-342900">
              <a:buFont typeface="Arial" panose="020B0604020202020204" pitchFamily="34" charset="0"/>
              <a:buChar char="•"/>
            </a:pPr>
            <a:r>
              <a:rPr lang="en-US" sz="2800" b="1" dirty="0"/>
              <a:t>2 Week Lead time</a:t>
            </a:r>
          </a:p>
          <a:p>
            <a:pPr marL="342900" indent="-342900">
              <a:buFont typeface="Arial" panose="020B0604020202020204" pitchFamily="34" charset="0"/>
              <a:buChar char="•"/>
            </a:pPr>
            <a:r>
              <a:rPr lang="en-US" sz="2800" b="1" dirty="0"/>
              <a:t>1 Day – 2 Weeks </a:t>
            </a:r>
            <a:r>
              <a:rPr lang="en-US" sz="2400" dirty="0"/>
              <a:t>processing time</a:t>
            </a:r>
          </a:p>
          <a:p>
            <a:pPr marL="342900" indent="-342900">
              <a:buFont typeface="Arial" panose="020B0604020202020204" pitchFamily="34" charset="0"/>
              <a:buChar char="•"/>
            </a:pPr>
            <a:r>
              <a:rPr lang="en-US" sz="2400" dirty="0"/>
              <a:t>Not all waste was cut in first pass</a:t>
            </a:r>
          </a:p>
          <a:p>
            <a:pPr marL="342900" indent="-342900">
              <a:buFont typeface="Arial" panose="020B0604020202020204" pitchFamily="34" charset="0"/>
              <a:buChar char="•"/>
            </a:pPr>
            <a:r>
              <a:rPr lang="en-US" sz="2400" dirty="0"/>
              <a:t>Fully automated and streamlined process with an application flowing through the system.</a:t>
            </a:r>
          </a:p>
          <a:p>
            <a:endParaRPr lang="en-US" sz="2400" dirty="0"/>
          </a:p>
          <a:p>
            <a:r>
              <a:rPr lang="en-US" sz="2400" dirty="0"/>
              <a:t>Investment: </a:t>
            </a:r>
            <a:r>
              <a:rPr lang="en-US" sz="3200" b="1" dirty="0"/>
              <a:t>3 weeks</a:t>
            </a:r>
          </a:p>
          <a:p>
            <a:endParaRPr lang="en-US" dirty="0"/>
          </a:p>
        </p:txBody>
      </p:sp>
    </p:spTree>
    <p:extLst>
      <p:ext uri="{BB962C8B-B14F-4D97-AF65-F5344CB8AC3E}">
        <p14:creationId xmlns:p14="http://schemas.microsoft.com/office/powerpoint/2010/main" val="8184879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C385D-2CBE-4C51-B313-0646EF090EDA}"/>
              </a:ext>
            </a:extLst>
          </p:cNvPr>
          <p:cNvSpPr>
            <a:spLocks noGrp="1"/>
          </p:cNvSpPr>
          <p:nvPr>
            <p:ph type="title"/>
          </p:nvPr>
        </p:nvSpPr>
        <p:spPr>
          <a:xfrm>
            <a:off x="560727" y="251613"/>
            <a:ext cx="10515600" cy="1325563"/>
          </a:xfrm>
        </p:spPr>
        <p:txBody>
          <a:bodyPr>
            <a:normAutofit fontScale="90000"/>
          </a:bodyPr>
          <a:lstStyle/>
          <a:p>
            <a:r>
              <a:rPr lang="en-US" dirty="0"/>
              <a:t>Release Cycle 18 months </a:t>
            </a:r>
            <a:r>
              <a:rPr lang="en-US" dirty="0">
                <a:sym typeface="Wingdings" panose="05000000000000000000" pitchFamily="2" charset="2"/>
              </a:rPr>
              <a:t> 4 weeks</a:t>
            </a:r>
            <a:br>
              <a:rPr lang="en-US" dirty="0"/>
            </a:br>
            <a:r>
              <a:rPr lang="en-US" dirty="0"/>
              <a:t>Hotfix 6 week </a:t>
            </a:r>
            <a:r>
              <a:rPr lang="en-US" dirty="0">
                <a:sym typeface="Wingdings" panose="05000000000000000000" pitchFamily="2" charset="2"/>
              </a:rPr>
              <a:t> Same Day</a:t>
            </a:r>
            <a:br>
              <a:rPr lang="en-US" dirty="0">
                <a:sym typeface="Wingdings" panose="05000000000000000000" pitchFamily="2" charset="2"/>
              </a:rPr>
            </a:br>
            <a:r>
              <a:rPr lang="en-US" dirty="0">
                <a:sym typeface="Wingdings" panose="05000000000000000000" pitchFamily="2" charset="2"/>
              </a:rPr>
              <a:t>Investment  3 weeks</a:t>
            </a:r>
            <a:endParaRPr lang="en-US" dirty="0"/>
          </a:p>
        </p:txBody>
      </p:sp>
      <p:pic>
        <p:nvPicPr>
          <p:cNvPr id="4" name="Content Placeholder 3">
            <a:extLst>
              <a:ext uri="{FF2B5EF4-FFF2-40B4-BE49-F238E27FC236}">
                <a16:creationId xmlns:a16="http://schemas.microsoft.com/office/drawing/2014/main" id="{39C68B22-AB96-4A52-81DA-66DC2701FC35}"/>
              </a:ext>
            </a:extLst>
          </p:cNvPr>
          <p:cNvPicPr>
            <a:picLocks noGrp="1" noChangeAspect="1"/>
          </p:cNvPicPr>
          <p:nvPr>
            <p:ph idx="1"/>
          </p:nvPr>
        </p:nvPicPr>
        <p:blipFill>
          <a:blip r:embed="rId3"/>
          <a:stretch>
            <a:fillRect/>
          </a:stretch>
        </p:blipFill>
        <p:spPr>
          <a:xfrm>
            <a:off x="3619434" y="1741021"/>
            <a:ext cx="8572566" cy="5054600"/>
          </a:xfrm>
          <a:prstGeom prst="rect">
            <a:avLst/>
          </a:prstGeom>
        </p:spPr>
      </p:pic>
    </p:spTree>
    <p:extLst>
      <p:ext uri="{BB962C8B-B14F-4D97-AF65-F5344CB8AC3E}">
        <p14:creationId xmlns:p14="http://schemas.microsoft.com/office/powerpoint/2010/main" val="26117169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189177"/>
            <a:ext cx="11653523" cy="3804118"/>
          </a:xfrm>
        </p:spPr>
        <p:txBody>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a:solidFill>
                  <a:srgbClr val="0070C0"/>
                </a:solidFill>
              </a:rPr>
              <a:t>Development</a:t>
            </a:r>
            <a:r>
              <a:rPr lang="en-US" sz="2400">
                <a:solidFill>
                  <a:srgbClr val="0070C0"/>
                </a:solidFill>
              </a:rPr>
              <a:t> </a:t>
            </a:r>
            <a:r>
              <a:rPr lang="en-US" sz="2400" dirty="0">
                <a:solidFill>
                  <a:srgbClr val="0070C0"/>
                </a:solidFill>
              </a:rPr>
              <a:t>–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23360" y="289512"/>
            <a:ext cx="7901720" cy="899665"/>
          </a:xfrm>
        </p:spPr>
        <p:txBody>
          <a:bodyPr>
            <a:normAutofit fontScale="90000"/>
          </a:bodyPr>
          <a:lstStyle/>
          <a:p>
            <a:r>
              <a:rPr lang="en-US" altLang="en-US" sz="4800" dirty="0">
                <a:ln>
                  <a:noFill/>
                </a:ln>
                <a:solidFill>
                  <a:schemeClr val="tx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00" dirty="0">
                <a:ln>
                  <a:noFill/>
                </a:ln>
                <a:solidFill>
                  <a:schemeClr val="tx1"/>
                </a:solidFill>
                <a:latin typeface="Arial" panose="020B0604020202020204" pitchFamily="34" charset="0"/>
              </a:rPr>
            </a:br>
            <a:endParaRPr lang="en-US" dirty="0"/>
          </a:p>
        </p:txBody>
      </p:sp>
      <p:sp>
        <p:nvSpPr>
          <p:cNvPr id="4" name="Text Placeholder 3"/>
          <p:cNvSpPr>
            <a:spLocks noGrp="1"/>
          </p:cNvSpPr>
          <p:nvPr>
            <p:ph type="body" sz="quarter" idx="10"/>
          </p:nvPr>
        </p:nvSpPr>
        <p:spPr>
          <a:xfrm>
            <a:off x="4152452" y="977168"/>
            <a:ext cx="8017736" cy="2405338"/>
          </a:xfrm>
        </p:spPr>
        <p:txBody>
          <a:bodyPr/>
          <a:lstStyle/>
          <a:p>
            <a:pPr lvl="0" eaLnBrk="0" fontAlgn="base" hangingPunct="0">
              <a:spcBef>
                <a:spcPct val="0"/>
              </a:spcBef>
              <a:spcAft>
                <a:spcPct val="0"/>
              </a:spcAft>
            </a:pPr>
            <a:r>
              <a:rPr lang="en-US" altLang="en-US" sz="1800" dirty="0">
                <a:solidFill>
                  <a:schemeClr val="tx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hlinkClick r:id="rId3"/>
              </a:rPr>
              <a:t>The Phoenix Project: A Novel about IT, DevOps, and Helping Your Business Win Paperback</a:t>
            </a: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rPr>
              <a:t> </a:t>
            </a:r>
          </a:p>
          <a:p>
            <a:pPr lvl="0" eaLnBrk="0" fontAlgn="base" hangingPunct="0">
              <a:spcBef>
                <a:spcPct val="0"/>
              </a:spcBef>
              <a:spcAft>
                <a:spcPct val="0"/>
              </a:spcAft>
            </a:pPr>
            <a:r>
              <a:rPr lang="en-US" altLang="en-US" sz="1600" dirty="0">
                <a:solidFill>
                  <a:srgbClr val="11111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152452" y="3498531"/>
            <a:ext cx="7627172" cy="2831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endParaRPr kumimoji="0" lang="en-US" altLang="en-US" sz="24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rPr>
              <a:t>This is the BEST IT Book I have ever read. </a:t>
            </a:r>
            <a:endParaRPr kumimoji="0" lang="en-US" altLang="en-US" sz="2800" b="0" i="0" u="none" strike="noStrike" cap="none" normalizeH="0" baseline="0" dirty="0">
              <a:ln>
                <a:noFill/>
              </a:ln>
              <a:solidFill>
                <a:srgbClr val="7030A0"/>
              </a:solidFill>
              <a:effectLst/>
              <a:latin typeface="Arial" panose="020B0604020202020204"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050" y="177652"/>
            <a:ext cx="3841310" cy="6483381"/>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922" y="185577"/>
            <a:ext cx="11655840" cy="899665"/>
          </a:xfrm>
        </p:spPr>
        <p:txBody>
          <a:bodyPr/>
          <a:lstStyle/>
          <a:p>
            <a:r>
              <a:rPr lang="en-US" dirty="0"/>
              <a:t>What is DevOps…</a:t>
            </a:r>
          </a:p>
        </p:txBody>
      </p:sp>
      <p:sp>
        <p:nvSpPr>
          <p:cNvPr id="5" name="Content Placeholder 4"/>
          <p:cNvSpPr>
            <a:spLocks noGrp="1"/>
          </p:cNvSpPr>
          <p:nvPr>
            <p:ph type="body" sz="quarter" idx="10"/>
          </p:nvPr>
        </p:nvSpPr>
        <p:spPr>
          <a:xfrm>
            <a:off x="336153" y="1103971"/>
            <a:ext cx="2998065" cy="5286062"/>
          </a:xfrm>
        </p:spPr>
        <p:txBody>
          <a:bodyPr/>
          <a:lstStyle/>
          <a:p>
            <a:r>
              <a:rPr lang="en-US" sz="1600" dirty="0">
                <a:hlinkClick r:id="rId3"/>
              </a:rPr>
              <a:t>Gene Kim’s “3 ways”</a:t>
            </a:r>
            <a:r>
              <a:rPr lang="en-US" sz="1600" dirty="0"/>
              <a:t>  </a:t>
            </a:r>
            <a:endParaRPr lang="en-US" sz="1100" b="1" dirty="0"/>
          </a:p>
          <a:p>
            <a:r>
              <a:rPr lang="en-US" sz="1100" b="1" dirty="0"/>
              <a:t>The First Way </a:t>
            </a:r>
            <a:r>
              <a:rPr lang="en-US" sz="1100" dirty="0"/>
              <a:t>emphasizes the </a:t>
            </a:r>
            <a:r>
              <a:rPr lang="en-US" sz="1600" b="1" dirty="0"/>
              <a:t>performance of the entire system</a:t>
            </a:r>
            <a:r>
              <a:rPr lang="en-US" sz="1100" dirty="0"/>
              <a:t>, as opposed to the performance of a specific silo of work or department — this as can be as large a division (e.g., Development or IT Operations) or as small as an individual contributor (e.g., a developer, system administrator).</a:t>
            </a:r>
          </a:p>
          <a:p>
            <a:r>
              <a:rPr lang="en-US" sz="1100" b="1" dirty="0"/>
              <a:t>The Second Way </a:t>
            </a:r>
            <a:r>
              <a:rPr lang="en-US" sz="1100" dirty="0"/>
              <a:t>is about creating the right to left feedback loops. The goal of almost any process improvement initiative is to </a:t>
            </a:r>
            <a:r>
              <a:rPr lang="en-US" sz="1600" b="1" dirty="0"/>
              <a:t>shorten and amplify feedback loops</a:t>
            </a:r>
            <a:r>
              <a:rPr lang="en-US" sz="1100" dirty="0"/>
              <a:t> so necessary corrections can be continually made</a:t>
            </a:r>
            <a:br>
              <a:rPr lang="en-US" sz="1100" dirty="0"/>
            </a:br>
            <a:endParaRPr lang="en-US" sz="1100" dirty="0"/>
          </a:p>
          <a:p>
            <a:r>
              <a:rPr lang="en-US" sz="1100" b="1" dirty="0"/>
              <a:t>The Third Way </a:t>
            </a:r>
            <a:r>
              <a:rPr lang="en-US" sz="1100" dirty="0"/>
              <a:t>is about creating a</a:t>
            </a:r>
            <a:r>
              <a:rPr lang="en-US" sz="1800" b="1" dirty="0"/>
              <a:t> culture </a:t>
            </a:r>
            <a:r>
              <a:rPr lang="en-US" sz="1100" dirty="0"/>
              <a:t>that fosters two things: </a:t>
            </a:r>
            <a:r>
              <a:rPr lang="en-US" sz="1800" b="1" dirty="0"/>
              <a:t>continual experimentation</a:t>
            </a:r>
            <a:r>
              <a:rPr lang="en-US" sz="1100" dirty="0"/>
              <a:t>, taking risks </a:t>
            </a:r>
            <a:r>
              <a:rPr lang="en-US" sz="1800" b="1" dirty="0"/>
              <a:t>and learning </a:t>
            </a:r>
            <a:r>
              <a:rPr lang="en-US" sz="1100" dirty="0"/>
              <a:t>from failure; and understanding that repetition and practice is the prerequisite to mastery.</a:t>
            </a:r>
          </a:p>
        </p:txBody>
      </p:sp>
      <p:sp>
        <p:nvSpPr>
          <p:cNvPr id="7" name="Text Placeholder 6"/>
          <p:cNvSpPr>
            <a:spLocks noGrp="1"/>
          </p:cNvSpPr>
          <p:nvPr>
            <p:ph type="body" sz="quarter" idx="11"/>
          </p:nvPr>
        </p:nvSpPr>
        <p:spPr>
          <a:xfrm>
            <a:off x="7640193" y="229326"/>
            <a:ext cx="4551807" cy="5904693"/>
          </a:xfrm>
        </p:spPr>
        <p:txBody>
          <a:bodyPr/>
          <a:lstStyle/>
          <a:p>
            <a:r>
              <a:rPr lang="en-US" sz="1600" dirty="0">
                <a:hlinkClick r:id="rId4"/>
              </a:rPr>
              <a:t>Infrastructure as Code (</a:t>
            </a:r>
            <a:r>
              <a:rPr lang="en-US" sz="1600" dirty="0" err="1">
                <a:hlinkClick r:id="rId4"/>
              </a:rPr>
              <a:t>IaC</a:t>
            </a:r>
            <a:r>
              <a:rPr lang="en-US" sz="1600" dirty="0">
                <a:hlinkClick r:id="rId4"/>
              </a:rPr>
              <a:t>)</a:t>
            </a:r>
            <a:r>
              <a:rPr lang="en-US" sz="1600" dirty="0"/>
              <a:t> </a:t>
            </a:r>
          </a:p>
          <a:p>
            <a:r>
              <a:rPr lang="en-US" sz="1600" dirty="0">
                <a:hlinkClick r:id="rId5"/>
              </a:rPr>
              <a:t>Continuous Integration (CI)</a:t>
            </a:r>
            <a:endParaRPr lang="en-US" sz="1600" dirty="0"/>
          </a:p>
          <a:p>
            <a:r>
              <a:rPr lang="en-US" sz="1600" dirty="0">
                <a:hlinkClick r:id="rId6"/>
              </a:rPr>
              <a:t>Automated Testing</a:t>
            </a:r>
            <a:endParaRPr lang="en-US" sz="1600" dirty="0"/>
          </a:p>
          <a:p>
            <a:r>
              <a:rPr lang="en-US" sz="1600" dirty="0">
                <a:hlinkClick r:id="rId7"/>
              </a:rPr>
              <a:t>Application Performance Monitoring/Management (APM)</a:t>
            </a:r>
            <a:endParaRPr lang="en-US" sz="1600" dirty="0"/>
          </a:p>
          <a:p>
            <a:r>
              <a:rPr lang="en-US" sz="1600" u="sng" dirty="0"/>
              <a:t>Continuous Deployment (CD)</a:t>
            </a:r>
            <a:r>
              <a:rPr lang="en-US" sz="1600" dirty="0"/>
              <a:t> </a:t>
            </a:r>
          </a:p>
          <a:p>
            <a:r>
              <a:rPr lang="en-US" sz="1600" dirty="0">
                <a:hlinkClick r:id="rId8"/>
              </a:rPr>
              <a:t>Release Management</a:t>
            </a:r>
            <a:endParaRPr lang="en-US" sz="1600" dirty="0"/>
          </a:p>
          <a:p>
            <a:r>
              <a:rPr lang="en-US" sz="1600" dirty="0">
                <a:hlinkClick r:id="rId9"/>
              </a:rPr>
              <a:t>Configuration Management</a:t>
            </a:r>
            <a:endParaRPr lang="en-US" sz="1600" dirty="0"/>
          </a:p>
          <a:p>
            <a:r>
              <a:rPr lang="en-US" sz="1600" dirty="0"/>
              <a:t>DevOps Fundamentals</a:t>
            </a:r>
          </a:p>
          <a:p>
            <a:pPr lvl="1">
              <a:buFont typeface="Arial" panose="020B0604020202020204" pitchFamily="34" charset="0"/>
              <a:buChar char="•"/>
            </a:pPr>
            <a:r>
              <a:rPr lang="en-US" sz="1100" dirty="0">
                <a:hlinkClick r:id="rId10"/>
              </a:rPr>
              <a:t>Advanced Monitoring</a:t>
            </a:r>
            <a:r>
              <a:rPr lang="en-US" sz="1100" dirty="0"/>
              <a:t> </a:t>
            </a:r>
          </a:p>
          <a:p>
            <a:pPr lvl="1">
              <a:buFont typeface="Arial" panose="020B0604020202020204" pitchFamily="34" charset="0"/>
              <a:buChar char="•"/>
            </a:pPr>
            <a:r>
              <a:rPr lang="en-US" sz="1100" dirty="0">
                <a:hlinkClick r:id="rId11"/>
              </a:rPr>
              <a:t>Capacity Management</a:t>
            </a:r>
            <a:endParaRPr lang="en-US" sz="1100" dirty="0"/>
          </a:p>
          <a:p>
            <a:pPr lvl="1">
              <a:buFont typeface="Arial" panose="020B0604020202020204" pitchFamily="34" charset="0"/>
              <a:buChar char="•"/>
            </a:pPr>
            <a:r>
              <a:rPr lang="en-US" sz="1100" dirty="0">
                <a:hlinkClick r:id="rId12"/>
              </a:rPr>
              <a:t>Feature Flags</a:t>
            </a:r>
            <a:endParaRPr lang="en-US" sz="1100" dirty="0"/>
          </a:p>
          <a:p>
            <a:pPr lvl="1">
              <a:buFont typeface="Arial" panose="020B0604020202020204" pitchFamily="34" charset="0"/>
              <a:buChar char="•"/>
            </a:pPr>
            <a:r>
              <a:rPr lang="en-US" sz="1100" dirty="0"/>
              <a:t>Self-Service Environments</a:t>
            </a:r>
          </a:p>
          <a:p>
            <a:pPr>
              <a:buFont typeface="Arial" panose="020B0604020202020204" pitchFamily="34" charset="0"/>
              <a:buChar char="•"/>
            </a:pPr>
            <a:r>
              <a:rPr lang="en-US" sz="1600" dirty="0"/>
              <a:t>Automated Recovery (Rollback &amp; Roll-Forward)</a:t>
            </a:r>
          </a:p>
          <a:p>
            <a:pPr>
              <a:buFont typeface="Arial" panose="020B0604020202020204" pitchFamily="34" charset="0"/>
              <a:buChar char="•"/>
            </a:pPr>
            <a:r>
              <a:rPr lang="en-US" sz="1600" dirty="0">
                <a:hlinkClick r:id="rId13"/>
              </a:rPr>
              <a:t>Hypothesis Driven Development</a:t>
            </a:r>
            <a:r>
              <a:rPr lang="en-US" sz="1600" dirty="0"/>
              <a:t> </a:t>
            </a:r>
          </a:p>
          <a:p>
            <a:pPr marL="742950" lvl="1" indent="-285750">
              <a:buFont typeface="Arial" panose="020B0604020202020204" pitchFamily="34" charset="0"/>
              <a:buChar char="•"/>
            </a:pPr>
            <a:r>
              <a:rPr lang="en-US" sz="1100" dirty="0">
                <a:hlinkClick r:id="rId14"/>
              </a:rPr>
              <a:t>Testing in Production</a:t>
            </a:r>
            <a:r>
              <a:rPr lang="en-US" sz="1100" dirty="0"/>
              <a:t> – partial user base</a:t>
            </a:r>
          </a:p>
          <a:p>
            <a:pPr marL="742950" lvl="1" indent="-285750">
              <a:buFont typeface="Arial" panose="020B0604020202020204" pitchFamily="34" charset="0"/>
              <a:buChar char="•"/>
            </a:pPr>
            <a:r>
              <a:rPr lang="en-US" sz="1100" dirty="0">
                <a:hlinkClick r:id="rId15"/>
              </a:rPr>
              <a:t>Fault Injection</a:t>
            </a:r>
            <a:r>
              <a:rPr lang="en-US" sz="1100" dirty="0"/>
              <a:t> </a:t>
            </a:r>
          </a:p>
          <a:p>
            <a:pPr marL="742950" lvl="1" indent="-285750">
              <a:buFont typeface="Arial" panose="020B0604020202020204" pitchFamily="34" charset="0"/>
              <a:buChar char="•"/>
            </a:pPr>
            <a:r>
              <a:rPr lang="en-US" sz="1100" dirty="0"/>
              <a:t>Usage Monitoring/Telemetry</a:t>
            </a:r>
          </a:p>
          <a:p>
            <a:pPr marL="742950" lvl="1" indent="-285750">
              <a:buFont typeface="Arial" panose="020B0604020202020204" pitchFamily="34" charset="0"/>
              <a:buChar char="•"/>
            </a:pPr>
            <a:r>
              <a:rPr lang="en-US" sz="1100" dirty="0">
                <a:hlinkClick r:id="rId16"/>
              </a:rPr>
              <a:t>A/B Testing</a:t>
            </a:r>
            <a:r>
              <a:rPr lang="en-US" sz="1100" dirty="0"/>
              <a:t> (aka canary testing)</a:t>
            </a:r>
          </a:p>
        </p:txBody>
      </p:sp>
      <p:sp>
        <p:nvSpPr>
          <p:cNvPr id="8" name="Rectangle 7"/>
          <p:cNvSpPr/>
          <p:nvPr/>
        </p:nvSpPr>
        <p:spPr>
          <a:xfrm>
            <a:off x="113122" y="6317864"/>
            <a:ext cx="7815394"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0C0"/>
                </a:solidFill>
                <a:effectLst/>
                <a:uLnTx/>
                <a:uFillTx/>
              </a:rPr>
              <a:t>http://itrevolution.com/the-three-ways-principles-underpinning-devops/ </a:t>
            </a:r>
          </a:p>
        </p:txBody>
      </p:sp>
      <p:pic>
        <p:nvPicPr>
          <p:cNvPr id="9" name="Picture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324925" y="1311838"/>
            <a:ext cx="3798389" cy="1475967"/>
          </a:xfrm>
          <a:prstGeom prst="rect">
            <a:avLst/>
          </a:prstGeom>
        </p:spPr>
      </p:pic>
      <p:pic>
        <p:nvPicPr>
          <p:cNvPr id="11" name="Picture 1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13314" y="3138419"/>
            <a:ext cx="3810000" cy="1188825"/>
          </a:xfrm>
          <a:prstGeom prst="rect">
            <a:avLst/>
          </a:prstGeom>
        </p:spPr>
      </p:pic>
      <p:pic>
        <p:nvPicPr>
          <p:cNvPr id="12" name="Picture 1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313314" y="4774114"/>
            <a:ext cx="3810000" cy="1162774"/>
          </a:xfrm>
          <a:prstGeom prst="rect">
            <a:avLst/>
          </a:prstGeom>
        </p:spPr>
      </p:pic>
      <p:sp>
        <p:nvSpPr>
          <p:cNvPr id="3" name="Rectangle 2"/>
          <p:cNvSpPr/>
          <p:nvPr/>
        </p:nvSpPr>
        <p:spPr>
          <a:xfrm>
            <a:off x="7370955" y="5949353"/>
            <a:ext cx="4347409" cy="369332"/>
          </a:xfrm>
          <a:prstGeom prst="rect">
            <a:avLst/>
          </a:prstGeom>
        </p:spPr>
        <p:txBody>
          <a:bodyPr wrap="none">
            <a:spAutoFit/>
          </a:bodyPr>
          <a:lstStyle/>
          <a:p>
            <a:r>
              <a:rPr lang="en-US" dirty="0">
                <a:solidFill>
                  <a:srgbClr val="0070C0"/>
                </a:solidFill>
              </a:rPr>
              <a:t>http://www.itproguy.com/devops-practices/</a:t>
            </a:r>
          </a:p>
        </p:txBody>
      </p:sp>
    </p:spTree>
    <p:extLst>
      <p:ext uri="{BB962C8B-B14F-4D97-AF65-F5344CB8AC3E}">
        <p14:creationId xmlns:p14="http://schemas.microsoft.com/office/powerpoint/2010/main" val="41313354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81895"/>
            <a:ext cx="11201400" cy="615553"/>
          </a:xfrm>
        </p:spPr>
        <p:txBody>
          <a:bodyPr>
            <a:normAutofit fontScale="90000"/>
          </a:bodyPr>
          <a:lstStyle/>
          <a:p>
            <a:r>
              <a:rPr lang="en-US" dirty="0">
                <a:solidFill>
                  <a:schemeClr val="tx1"/>
                </a:solidFill>
              </a:rPr>
              <a:t>Traditional vs modern dev-ops</a:t>
            </a:r>
          </a:p>
        </p:txBody>
      </p:sp>
      <p:graphicFrame>
        <p:nvGraphicFramePr>
          <p:cNvPr id="4" name="Table 3"/>
          <p:cNvGraphicFramePr>
            <a:graphicFrameLocks noGrp="1"/>
          </p:cNvGraphicFramePr>
          <p:nvPr>
            <p:extLst/>
          </p:nvPr>
        </p:nvGraphicFramePr>
        <p:xfrm>
          <a:off x="568047" y="1157220"/>
          <a:ext cx="10906502" cy="5451696"/>
        </p:xfrm>
        <a:graphic>
          <a:graphicData uri="http://schemas.openxmlformats.org/drawingml/2006/table">
            <a:tbl>
              <a:tblPr firstRow="1" firstCol="1" bandRow="1">
                <a:tableStyleId>{21E4AEA4-8DFA-4A89-87EB-49C32662AFE0}</a:tableStyleId>
              </a:tblPr>
              <a:tblGrid>
                <a:gridCol w="3634586">
                  <a:extLst>
                    <a:ext uri="{9D8B030D-6E8A-4147-A177-3AD203B41FA5}">
                      <a16:colId xmlns:a16="http://schemas.microsoft.com/office/drawing/2014/main" val="20000"/>
                    </a:ext>
                  </a:extLst>
                </a:gridCol>
                <a:gridCol w="3635958">
                  <a:extLst>
                    <a:ext uri="{9D8B030D-6E8A-4147-A177-3AD203B41FA5}">
                      <a16:colId xmlns:a16="http://schemas.microsoft.com/office/drawing/2014/main" val="20001"/>
                    </a:ext>
                  </a:extLst>
                </a:gridCol>
                <a:gridCol w="3635958">
                  <a:extLst>
                    <a:ext uri="{9D8B030D-6E8A-4147-A177-3AD203B41FA5}">
                      <a16:colId xmlns:a16="http://schemas.microsoft.com/office/drawing/2014/main" val="20002"/>
                    </a:ext>
                  </a:extLst>
                </a:gridCol>
              </a:tblGrid>
              <a:tr h="842825">
                <a:tc>
                  <a:txBody>
                    <a:bodyPr/>
                    <a:lstStyle/>
                    <a:p>
                      <a:pPr marL="0" marR="0">
                        <a:lnSpc>
                          <a:spcPts val="1200"/>
                        </a:lnSpc>
                        <a:spcBef>
                          <a:spcPts val="0"/>
                        </a:spcBef>
                        <a:spcAft>
                          <a:spcPts val="600"/>
                        </a:spcAft>
                      </a:pPr>
                      <a:r>
                        <a:rPr lang="en-US" sz="1800" dirty="0">
                          <a:effectLst/>
                        </a:rPr>
                        <a:t>Categor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Tradition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odern DevOp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0"/>
                  </a:ext>
                </a:extLst>
              </a:tr>
              <a:tr h="512097">
                <a:tc>
                  <a:txBody>
                    <a:bodyPr/>
                    <a:lstStyle/>
                    <a:p>
                      <a:pPr marL="0" marR="0">
                        <a:lnSpc>
                          <a:spcPts val="1200"/>
                        </a:lnSpc>
                        <a:spcBef>
                          <a:spcPts val="0"/>
                        </a:spcBef>
                        <a:spcAft>
                          <a:spcPts val="600"/>
                        </a:spcAft>
                      </a:pPr>
                      <a:r>
                        <a:rPr lang="en-US" sz="1800" dirty="0">
                          <a:effectLst/>
                        </a:rPr>
                        <a:t>Quality of code check-in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Unknow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Validated through unit test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1"/>
                  </a:ext>
                </a:extLst>
              </a:tr>
              <a:tr h="512097">
                <a:tc>
                  <a:txBody>
                    <a:bodyPr/>
                    <a:lstStyle/>
                    <a:p>
                      <a:pPr marL="0" marR="0">
                        <a:lnSpc>
                          <a:spcPts val="1200"/>
                        </a:lnSpc>
                        <a:spcBef>
                          <a:spcPts val="0"/>
                        </a:spcBef>
                        <a:spcAft>
                          <a:spcPts val="600"/>
                        </a:spcAft>
                      </a:pPr>
                      <a:r>
                        <a:rPr lang="en-US" sz="1800" dirty="0">
                          <a:effectLst/>
                        </a:rPr>
                        <a:t>Environment Creation/Configur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Manual </a:t>
                      </a:r>
                      <a:endParaRPr lang="en-US" sz="180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Automated</a:t>
                      </a:r>
                    </a:p>
                  </a:txBody>
                  <a:tcPr marL="67232" marR="67232" marT="0" marB="0" anchor="ctr"/>
                </a:tc>
                <a:extLst>
                  <a:ext uri="{0D108BD9-81ED-4DB2-BD59-A6C34878D82A}">
                    <a16:rowId xmlns:a16="http://schemas.microsoft.com/office/drawing/2014/main" val="10002"/>
                  </a:ext>
                </a:extLst>
              </a:tr>
              <a:tr h="1024193">
                <a:tc>
                  <a:txBody>
                    <a:bodyPr/>
                    <a:lstStyle/>
                    <a:p>
                      <a:pPr marL="0" marR="0">
                        <a:lnSpc>
                          <a:spcPts val="1200"/>
                        </a:lnSpc>
                        <a:spcBef>
                          <a:spcPts val="0"/>
                        </a:spcBef>
                        <a:spcAft>
                          <a:spcPts val="600"/>
                        </a:spcAft>
                      </a:pPr>
                      <a:r>
                        <a:rPr lang="en-US" sz="1800" dirty="0">
                          <a:effectLst/>
                        </a:rPr>
                        <a:t>Deployment Frequenc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1-2 months (or less frequent)</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Deploy whenever needed, including several per day</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3"/>
                  </a:ext>
                </a:extLst>
              </a:tr>
              <a:tr h="512097">
                <a:tc>
                  <a:txBody>
                    <a:bodyPr/>
                    <a:lstStyle/>
                    <a:p>
                      <a:pPr marL="0" marR="0">
                        <a:lnSpc>
                          <a:spcPts val="1200"/>
                        </a:lnSpc>
                        <a:spcBef>
                          <a:spcPts val="0"/>
                        </a:spcBef>
                        <a:spcAft>
                          <a:spcPts val="600"/>
                        </a:spcAft>
                      </a:pPr>
                      <a:r>
                        <a:rPr lang="en-US" sz="1800" dirty="0">
                          <a:effectLst/>
                        </a:rPr>
                        <a:t>App Deployment Proces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Requires meetings and planning </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Push-button deployment</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4"/>
                  </a:ext>
                </a:extLst>
              </a:tr>
              <a:tr h="512097">
                <a:tc>
                  <a:txBody>
                    <a:bodyPr/>
                    <a:lstStyle/>
                    <a:p>
                      <a:pPr marL="0" marR="0">
                        <a:lnSpc>
                          <a:spcPts val="1200"/>
                        </a:lnSpc>
                        <a:spcBef>
                          <a:spcPts val="0"/>
                        </a:spcBef>
                        <a:spcAft>
                          <a:spcPts val="600"/>
                        </a:spcAft>
                      </a:pPr>
                      <a:r>
                        <a:rPr lang="en-US" sz="1800" dirty="0">
                          <a:effectLst/>
                        </a:rPr>
                        <a:t>Deployment valid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anu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Automated</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5"/>
                  </a:ext>
                </a:extLst>
              </a:tr>
              <a:tr h="1024193">
                <a:tc>
                  <a:txBody>
                    <a:bodyPr/>
                    <a:lstStyle/>
                    <a:p>
                      <a:pPr marL="0" marR="0">
                        <a:lnSpc>
                          <a:spcPts val="1200"/>
                        </a:lnSpc>
                        <a:spcBef>
                          <a:spcPts val="0"/>
                        </a:spcBef>
                        <a:spcAft>
                          <a:spcPts val="600"/>
                        </a:spcAft>
                      </a:pPr>
                      <a:r>
                        <a:rPr lang="en-US" sz="1800" dirty="0">
                          <a:effectLst/>
                        </a:rPr>
                        <a:t>Monitoring</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inimal to non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Health and Performance monitoring</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6"/>
                  </a:ext>
                </a:extLst>
              </a:tr>
              <a:tr h="512097">
                <a:tc>
                  <a:txBody>
                    <a:bodyPr/>
                    <a:lstStyle/>
                    <a:p>
                      <a:pPr marL="0" marR="0">
                        <a:lnSpc>
                          <a:spcPts val="1200"/>
                        </a:lnSpc>
                        <a:spcBef>
                          <a:spcPts val="0"/>
                        </a:spcBef>
                        <a:spcAft>
                          <a:spcPts val="600"/>
                        </a:spcAft>
                      </a:pPr>
                      <a:r>
                        <a:rPr lang="en-US" sz="1800" dirty="0">
                          <a:effectLst/>
                        </a:rPr>
                        <a:t>Dev and Ops relationship</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Blame cultur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Culture of trust</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7396617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8" y="270266"/>
            <a:ext cx="11655840" cy="899537"/>
          </a:xfrm>
        </p:spPr>
        <p:txBody>
          <a:bodyPr/>
          <a:lstStyle/>
          <a:p>
            <a:r>
              <a:rPr lang="en-US" dirty="0">
                <a:solidFill>
                  <a:schemeClr val="tx1"/>
                </a:solidFill>
              </a:rPr>
              <a:t>Containerization</a:t>
            </a:r>
          </a:p>
        </p:txBody>
      </p:sp>
      <p:sp>
        <p:nvSpPr>
          <p:cNvPr id="3" name="Text Placeholder 2"/>
          <p:cNvSpPr>
            <a:spLocks noGrp="1"/>
          </p:cNvSpPr>
          <p:nvPr>
            <p:ph type="body" sz="quarter" idx="10"/>
          </p:nvPr>
        </p:nvSpPr>
        <p:spPr>
          <a:xfrm>
            <a:off x="270068" y="1661532"/>
            <a:ext cx="4978609" cy="4431664"/>
          </a:xfrm>
        </p:spPr>
        <p:txBody>
          <a:bodyPr/>
          <a:lstStyle/>
          <a:p>
            <a:pPr>
              <a:buFont typeface="Wingdings" panose="05000000000000000000" pitchFamily="2" charset="2"/>
              <a:buChar char="§"/>
            </a:pPr>
            <a:r>
              <a:rPr lang="en-US" sz="3528" dirty="0"/>
              <a:t>Abstract the unit of work from the VM</a:t>
            </a:r>
          </a:p>
          <a:p>
            <a:pPr>
              <a:buFont typeface="Wingdings" panose="05000000000000000000" pitchFamily="2" charset="2"/>
              <a:buChar char="§"/>
            </a:pPr>
            <a:r>
              <a:rPr lang="en-US" sz="3528" dirty="0"/>
              <a:t>Lightweight, fast provisioning, density</a:t>
            </a:r>
          </a:p>
          <a:p>
            <a:pPr>
              <a:buFont typeface="Wingdings" panose="05000000000000000000" pitchFamily="2" charset="2"/>
              <a:buChar char="§"/>
            </a:pPr>
            <a:r>
              <a:rPr lang="en-US" sz="3528" dirty="0"/>
              <a:t>Simplify application updates</a:t>
            </a:r>
          </a:p>
          <a:p>
            <a:r>
              <a:rPr lang="en-US" sz="3528" dirty="0"/>
              <a:t>Works with cluster managers for auto-scale capabilities</a:t>
            </a:r>
          </a:p>
        </p:txBody>
      </p:sp>
      <p:sp>
        <p:nvSpPr>
          <p:cNvPr id="4" name="Rectangle 3"/>
          <p:cNvSpPr/>
          <p:nvPr/>
        </p:nvSpPr>
        <p:spPr>
          <a:xfrm>
            <a:off x="5462390" y="2989597"/>
            <a:ext cx="3041873" cy="3137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1</a:t>
            </a:r>
          </a:p>
        </p:txBody>
      </p:sp>
      <p:sp>
        <p:nvSpPr>
          <p:cNvPr id="5" name="Rectangle 4"/>
          <p:cNvSpPr/>
          <p:nvPr/>
        </p:nvSpPr>
        <p:spPr>
          <a:xfrm>
            <a:off x="5654244" y="3522787"/>
            <a:ext cx="1172490"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6" name="Rectangle 5"/>
          <p:cNvSpPr/>
          <p:nvPr/>
        </p:nvSpPr>
        <p:spPr>
          <a:xfrm>
            <a:off x="7040446" y="3503874"/>
            <a:ext cx="1226569"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7" name="Rectangle 6"/>
          <p:cNvSpPr/>
          <p:nvPr/>
        </p:nvSpPr>
        <p:spPr>
          <a:xfrm>
            <a:off x="6255829" y="4496082"/>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8" name="Rectangle 7"/>
          <p:cNvSpPr/>
          <p:nvPr/>
        </p:nvSpPr>
        <p:spPr>
          <a:xfrm>
            <a:off x="8717976" y="2980073"/>
            <a:ext cx="3120653" cy="31470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2</a:t>
            </a:r>
          </a:p>
        </p:txBody>
      </p:sp>
      <p:sp>
        <p:nvSpPr>
          <p:cNvPr id="9" name="Rectangle 8"/>
          <p:cNvSpPr/>
          <p:nvPr/>
        </p:nvSpPr>
        <p:spPr>
          <a:xfrm>
            <a:off x="8953880" y="3494347"/>
            <a:ext cx="1246876"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0" name="Rectangle 9"/>
          <p:cNvSpPr/>
          <p:nvPr/>
        </p:nvSpPr>
        <p:spPr>
          <a:xfrm>
            <a:off x="10412658" y="3494347"/>
            <a:ext cx="1164069"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1" name="Rectangle 10"/>
          <p:cNvSpPr/>
          <p:nvPr/>
        </p:nvSpPr>
        <p:spPr>
          <a:xfrm>
            <a:off x="9670905" y="4486625"/>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12" name="Rectangle 11"/>
          <p:cNvSpPr/>
          <p:nvPr/>
        </p:nvSpPr>
        <p:spPr>
          <a:xfrm>
            <a:off x="5654244" y="5435492"/>
            <a:ext cx="6000083" cy="52380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6386"/>
            <a:r>
              <a:rPr lang="en-US" kern="0" dirty="0">
                <a:solidFill>
                  <a:sysClr val="windowText" lastClr="000000"/>
                </a:solidFill>
              </a:rPr>
              <a:t>Orchestration Engine</a:t>
            </a:r>
          </a:p>
        </p:txBody>
      </p:sp>
      <p:sp>
        <p:nvSpPr>
          <p:cNvPr id="13" name="Rectangle 12"/>
          <p:cNvSpPr/>
          <p:nvPr/>
        </p:nvSpPr>
        <p:spPr>
          <a:xfrm>
            <a:off x="6917723" y="440918"/>
            <a:ext cx="3409466" cy="160258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896386"/>
            <a:r>
              <a:rPr lang="en-US" sz="2000" b="1" u="sng" kern="0" dirty="0">
                <a:solidFill>
                  <a:sysClr val="windowText" lastClr="000000"/>
                </a:solidFill>
              </a:rPr>
              <a:t>ARM Template</a:t>
            </a:r>
            <a:endParaRPr lang="en-US" kern="0" dirty="0">
              <a:solidFill>
                <a:sysClr val="windowText" lastClr="000000"/>
              </a:solidFill>
            </a:endParaRPr>
          </a:p>
          <a:p>
            <a:pPr algn="ctr" defTabSz="896386"/>
            <a:r>
              <a:rPr lang="en-US" i="1" kern="0" dirty="0">
                <a:solidFill>
                  <a:sysClr val="windowText" lastClr="000000"/>
                </a:solidFill>
              </a:rPr>
              <a:t>2 Hosts</a:t>
            </a:r>
          </a:p>
          <a:p>
            <a:pPr algn="ctr" defTabSz="896386"/>
            <a:endParaRPr lang="en-US" i="1" kern="0" dirty="0">
              <a:solidFill>
                <a:sysClr val="windowText" lastClr="000000"/>
              </a:solidFill>
            </a:endParaRPr>
          </a:p>
          <a:p>
            <a:pPr algn="ctr" defTabSz="896386"/>
            <a:r>
              <a:rPr lang="en-US" i="1" kern="0" dirty="0">
                <a:solidFill>
                  <a:sysClr val="windowText" lastClr="000000"/>
                </a:solidFill>
              </a:rPr>
              <a:t>4 Instances of Container A</a:t>
            </a:r>
          </a:p>
          <a:p>
            <a:pPr algn="ctr" defTabSz="896386"/>
            <a:r>
              <a:rPr lang="en-US" i="1" kern="0" dirty="0">
                <a:solidFill>
                  <a:sysClr val="windowText" lastClr="000000"/>
                </a:solidFill>
              </a:rPr>
              <a:t>2 Instances of Container B</a:t>
            </a:r>
          </a:p>
        </p:txBody>
      </p:sp>
      <p:sp>
        <p:nvSpPr>
          <p:cNvPr id="14" name="Right Arrow 13"/>
          <p:cNvSpPr/>
          <p:nvPr/>
        </p:nvSpPr>
        <p:spPr>
          <a:xfrm rot="5400000">
            <a:off x="8262556" y="2140591"/>
            <a:ext cx="672318" cy="723796"/>
          </a:xfrm>
          <a:prstGeom prst="rightArrow">
            <a:avLst>
              <a:gd name="adj1" fmla="val 50000"/>
              <a:gd name="adj2" fmla="val 4850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kern="0">
              <a:solidFill>
                <a:sysClr val="windowText" lastClr="000000"/>
              </a:solidFill>
            </a:endParaRPr>
          </a:p>
        </p:txBody>
      </p:sp>
      <p:sp>
        <p:nvSpPr>
          <p:cNvPr id="15" name="Rectangle: Top Corners Snipped 14"/>
          <p:cNvSpPr/>
          <p:nvPr/>
        </p:nvSpPr>
        <p:spPr bwMode="auto">
          <a:xfrm>
            <a:off x="217122" y="1132933"/>
            <a:ext cx="5008020" cy="5553307"/>
          </a:xfrm>
          <a:prstGeom prst="snip2Same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4800" dirty="0">
                <a:gradFill>
                  <a:gsLst>
                    <a:gs pos="16814">
                      <a:srgbClr val="FFFFFF"/>
                    </a:gs>
                    <a:gs pos="46000">
                      <a:srgbClr val="FFFFFF"/>
                    </a:gs>
                  </a:gsLst>
                  <a:lin ang="5400000" scaled="0"/>
                </a:gradFill>
              </a:rPr>
              <a:t>Container are… </a:t>
            </a:r>
            <a:r>
              <a:rPr lang="en-US" sz="4000" dirty="0">
                <a:gradFill>
                  <a:gsLst>
                    <a:gs pos="16814">
                      <a:srgbClr val="FFFFFF"/>
                    </a:gs>
                    <a:gs pos="46000">
                      <a:srgbClr val="FFFFFF"/>
                    </a:gs>
                  </a:gsLst>
                  <a:lin ang="5400000" scaled="0"/>
                </a:gradFill>
              </a:rPr>
              <a:t>a technology that ENABLES and ACCELERATES </a:t>
            </a:r>
            <a:r>
              <a:rPr lang="en-US" sz="6000" dirty="0">
                <a:gradFill>
                  <a:gsLst>
                    <a:gs pos="16814">
                      <a:srgbClr val="FFFFFF"/>
                    </a:gs>
                    <a:gs pos="46000">
                      <a:srgbClr val="FFFFFF"/>
                    </a:gs>
                  </a:gsLst>
                  <a:lin ang="5400000" scaled="0"/>
                </a:gradFill>
              </a:rPr>
              <a:t>DevOps</a:t>
            </a:r>
            <a:endParaRPr lang="en-US" sz="4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04265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583" y="240084"/>
            <a:ext cx="11379200" cy="1325563"/>
          </a:xfrm>
        </p:spPr>
        <p:txBody>
          <a:bodyPr/>
          <a:lstStyle/>
          <a:p>
            <a:r>
              <a:rPr lang="en-US" sz="4400" dirty="0"/>
              <a:t>Cloud is a new way to think about a datacenter </a:t>
            </a:r>
          </a:p>
        </p:txBody>
      </p:sp>
      <p:sp>
        <p:nvSpPr>
          <p:cNvPr id="5" name="Rectangle 4"/>
          <p:cNvSpPr/>
          <p:nvPr/>
        </p:nvSpPr>
        <p:spPr bwMode="auto">
          <a:xfrm>
            <a:off x="1627676"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IRTUAL</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MACHINES</a:t>
            </a:r>
          </a:p>
        </p:txBody>
      </p:sp>
      <p:sp>
        <p:nvSpPr>
          <p:cNvPr id="6" name="Rectangle 5"/>
          <p:cNvSpPr/>
          <p:nvPr/>
        </p:nvSpPr>
        <p:spPr bwMode="auto">
          <a:xfrm>
            <a:off x="3907919" y="2812661"/>
            <a:ext cx="2098551"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M SCALE SETS</a:t>
            </a:r>
          </a:p>
        </p:txBody>
      </p:sp>
      <p:sp>
        <p:nvSpPr>
          <p:cNvPr id="7" name="Rectangle 6"/>
          <p:cNvSpPr/>
          <p:nvPr/>
        </p:nvSpPr>
        <p:spPr bwMode="auto">
          <a:xfrm>
            <a:off x="6183593"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CONTAINER SERVICE</a:t>
            </a:r>
          </a:p>
        </p:txBody>
      </p:sp>
      <p:sp>
        <p:nvSpPr>
          <p:cNvPr id="8" name="Rectangle 7"/>
          <p:cNvSpPr/>
          <p:nvPr/>
        </p:nvSpPr>
        <p:spPr bwMode="auto">
          <a:xfrm>
            <a:off x="8463837" y="2812661"/>
            <a:ext cx="2098284"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SERVICE FABRIC</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p:cNvSpPr/>
          <p:nvPr/>
        </p:nvSpPr>
        <p:spPr bwMode="auto">
          <a:xfrm>
            <a:off x="8463837" y="4521352"/>
            <a:ext cx="2098284"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Cloud Foundry,</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Marathon, </a:t>
            </a: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Dei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OpenShift etc.</a:t>
            </a:r>
          </a:p>
        </p:txBody>
      </p:sp>
      <p:sp>
        <p:nvSpPr>
          <p:cNvPr id="18" name="Rectangle 17"/>
          <p:cNvSpPr/>
          <p:nvPr/>
        </p:nvSpPr>
        <p:spPr bwMode="auto">
          <a:xfrm>
            <a:off x="6179503" y="4521352"/>
            <a:ext cx="2088563"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Docker Swarm</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Meso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etc.,</a:t>
            </a:r>
          </a:p>
        </p:txBody>
      </p:sp>
      <p:sp>
        <p:nvSpPr>
          <p:cNvPr id="19" name="Rectangle 18"/>
          <p:cNvSpPr/>
          <p:nvPr/>
        </p:nvSpPr>
        <p:spPr bwMode="auto">
          <a:xfrm>
            <a:off x="1627676" y="4521949"/>
            <a:ext cx="4385857"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505050">
                    <a:lumMod val="75000"/>
                    <a:lumOff val="25000"/>
                  </a:srgbClr>
                </a:solidFill>
                <a:effectLst/>
                <a:uLnTx/>
                <a:uFillTx/>
                <a:latin typeface="Segoe UI"/>
                <a:ea typeface="+mn-ea"/>
                <a:cs typeface="+mn-cs"/>
              </a:rPr>
              <a:t>Windows and Linux</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NET, Java, Python, PHP, Ruby, GO, Node.JS</a:t>
            </a:r>
          </a:p>
        </p:txBody>
      </p:sp>
      <p:pic>
        <p:nvPicPr>
          <p:cNvPr id="45" name="Picture 44" descr="12 Great Background Designs"/>
          <p:cNvPicPr>
            <a:picLocks noChangeAspect="1"/>
          </p:cNvPicPr>
          <p:nvPr/>
        </p:nvPicPr>
        <p:blipFill rotWithShape="1">
          <a:blip r:embed="rId3" cstate="print">
            <a:extLst>
              <a:ext uri="{28A0092B-C50C-407E-A947-70E740481C1C}">
                <a14:useLocalDpi xmlns:a14="http://schemas.microsoft.com/office/drawing/2010/main" val="0"/>
              </a:ext>
            </a:extLst>
          </a:blip>
          <a:srcRect t="2522" b="9211"/>
          <a:stretch/>
        </p:blipFill>
        <p:spPr>
          <a:xfrm>
            <a:off x="6183593" y="1358294"/>
            <a:ext cx="2103120" cy="1392273"/>
          </a:xfrm>
          <a:prstGeom prst="rect">
            <a:avLst/>
          </a:prstGeom>
          <a:ln>
            <a:solidFill>
              <a:schemeClr val="tx1">
                <a:lumMod val="25000"/>
                <a:lumOff val="75000"/>
              </a:schemeClr>
            </a:solidFill>
          </a:ln>
        </p:spPr>
      </p:pic>
      <p:pic>
        <p:nvPicPr>
          <p:cNvPr id="47" name="Picture 46" descr="orchestra+conductor.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63837" y="1358295"/>
            <a:ext cx="2098284" cy="1392273"/>
          </a:xfrm>
          <a:prstGeom prst="rect">
            <a:avLst/>
          </a:prstGeom>
          <a:ln>
            <a:solidFill>
              <a:schemeClr val="tx1">
                <a:lumMod val="25000"/>
                <a:lumOff val="75000"/>
              </a:schemeClr>
            </a:solidFill>
          </a:ln>
        </p:spPr>
      </p:pic>
      <p:grpSp>
        <p:nvGrpSpPr>
          <p:cNvPr id="16" name="Group 15"/>
          <p:cNvGrpSpPr/>
          <p:nvPr/>
        </p:nvGrpSpPr>
        <p:grpSpPr>
          <a:xfrm>
            <a:off x="1627676" y="1358294"/>
            <a:ext cx="2103120" cy="1389888"/>
            <a:chOff x="1330190" y="1358294"/>
            <a:chExt cx="2103120" cy="1389888"/>
          </a:xfrm>
        </p:grpSpPr>
        <p:grpSp>
          <p:nvGrpSpPr>
            <p:cNvPr id="48" name="Group 47"/>
            <p:cNvGrpSpPr/>
            <p:nvPr/>
          </p:nvGrpSpPr>
          <p:grpSpPr>
            <a:xfrm>
              <a:off x="1330190" y="1358294"/>
              <a:ext cx="2103120" cy="1389888"/>
              <a:chOff x="2755162" y="3813713"/>
              <a:chExt cx="2103120" cy="1389888"/>
            </a:xfrm>
          </p:grpSpPr>
          <p:sp>
            <p:nvSpPr>
              <p:cNvPr id="49" name="Rectangle 48"/>
              <p:cNvSpPr/>
              <p:nvPr/>
            </p:nvSpPr>
            <p:spPr>
              <a:xfrm>
                <a:off x="2755162" y="3813713"/>
                <a:ext cx="2103120" cy="138988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0" name="Picture 49" descr="How to Successfully Bath Your Colorado Dog"/>
              <p:cNvPicPr>
                <a:picLocks noChangeAspect="1"/>
              </p:cNvPicPr>
              <p:nvPr/>
            </p:nvPicPr>
            <p:blipFill rotWithShape="1">
              <a:blip r:embed="rId5" cstate="print">
                <a:extLst>
                  <a:ext uri="{28A0092B-C50C-407E-A947-70E740481C1C}">
                    <a14:useLocalDpi xmlns:a14="http://schemas.microsoft.com/office/drawing/2010/main" val="0"/>
                  </a:ext>
                </a:extLst>
              </a:blip>
              <a:srcRect t="7452" b="6528"/>
              <a:stretch/>
            </p:blipFill>
            <p:spPr>
              <a:xfrm>
                <a:off x="2859414" y="3838073"/>
                <a:ext cx="1887388" cy="1353496"/>
              </a:xfrm>
              <a:prstGeom prst="rect">
                <a:avLst/>
              </a:prstGeom>
              <a:ln>
                <a:noFill/>
              </a:ln>
            </p:spPr>
          </p:pic>
        </p:grpSp>
        <p:sp>
          <p:nvSpPr>
            <p:cNvPr id="53" name="Rectangle 52"/>
            <p:cNvSpPr/>
            <p:nvPr/>
          </p:nvSpPr>
          <p:spPr>
            <a:xfrm>
              <a:off x="1698832" y="2470464"/>
              <a:ext cx="1265924"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I AM SPECIAL</a:t>
              </a:r>
            </a:p>
          </p:txBody>
        </p:sp>
      </p:grpSp>
      <p:grpSp>
        <p:nvGrpSpPr>
          <p:cNvPr id="12" name="Group 11"/>
          <p:cNvGrpSpPr/>
          <p:nvPr/>
        </p:nvGrpSpPr>
        <p:grpSpPr>
          <a:xfrm>
            <a:off x="3907919" y="1358294"/>
            <a:ext cx="2098551" cy="1389888"/>
            <a:chOff x="3902805" y="-633240"/>
            <a:chExt cx="2098551" cy="1389888"/>
          </a:xfrm>
        </p:grpSpPr>
        <p:pic>
          <p:nvPicPr>
            <p:cNvPr id="46" name="Picture 45" descr="... November 18, 2012 at 432 × 287 in Milk Cows of the World Unite"/>
            <p:cNvPicPr>
              <a:picLocks noChangeAspect="1"/>
            </p:cNvPicPr>
            <p:nvPr/>
          </p:nvPicPr>
          <p:blipFill rotWithShape="1">
            <a:blip r:embed="rId6">
              <a:extLst>
                <a:ext uri="{28A0092B-C50C-407E-A947-70E740481C1C}">
                  <a14:useLocalDpi xmlns:a14="http://schemas.microsoft.com/office/drawing/2010/main" val="0"/>
                </a:ext>
              </a:extLst>
            </a:blip>
            <a:srcRect l="3368" t="3665" r="-1"/>
            <a:stretch/>
          </p:blipFill>
          <p:spPr>
            <a:xfrm>
              <a:off x="3902805" y="-633240"/>
              <a:ext cx="2098551" cy="1389888"/>
            </a:xfrm>
            <a:prstGeom prst="rect">
              <a:avLst/>
            </a:prstGeom>
            <a:ln>
              <a:solidFill>
                <a:schemeClr val="tx1">
                  <a:lumMod val="25000"/>
                  <a:lumOff val="75000"/>
                </a:schemeClr>
              </a:solidFill>
            </a:ln>
          </p:spPr>
        </p:pic>
        <p:sp>
          <p:nvSpPr>
            <p:cNvPr id="54" name="Rectangle 53"/>
            <p:cNvSpPr/>
            <p:nvPr/>
          </p:nvSpPr>
          <p:spPr>
            <a:xfrm>
              <a:off x="4006983" y="465363"/>
              <a:ext cx="1927452"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WE ALL LOOK ALIKE</a:t>
              </a:r>
            </a:p>
          </p:txBody>
        </p:sp>
      </p:grpSp>
      <p:sp>
        <p:nvSpPr>
          <p:cNvPr id="55" name="TextBox 54"/>
          <p:cNvSpPr txBox="1"/>
          <p:nvPr/>
        </p:nvSpPr>
        <p:spPr>
          <a:xfrm>
            <a:off x="-193" y="5801973"/>
            <a:ext cx="12192000" cy="52322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is Open at Every Layer</a:t>
            </a:r>
          </a:p>
        </p:txBody>
      </p:sp>
      <p:sp>
        <p:nvSpPr>
          <p:cNvPr id="42" name="Rectangle 41"/>
          <p:cNvSpPr/>
          <p:nvPr/>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nvGrpSpPr>
          <p:cNvPr id="3" name="Group 2"/>
          <p:cNvGrpSpPr/>
          <p:nvPr/>
        </p:nvGrpSpPr>
        <p:grpSpPr>
          <a:xfrm>
            <a:off x="111509" y="2975726"/>
            <a:ext cx="11954605" cy="2387628"/>
            <a:chOff x="111509" y="2975726"/>
            <a:chExt cx="11954605" cy="2387628"/>
          </a:xfrm>
        </p:grpSpPr>
        <p:sp>
          <p:nvSpPr>
            <p:cNvPr id="13" name="Rectangle 12"/>
            <p:cNvSpPr/>
            <p:nvPr/>
          </p:nvSpPr>
          <p:spPr>
            <a:xfrm>
              <a:off x="111509"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Infrastructure Mindset</a:t>
              </a:r>
            </a:p>
          </p:txBody>
        </p:sp>
        <p:sp>
          <p:nvSpPr>
            <p:cNvPr id="51" name="Rectangle 50"/>
            <p:cNvSpPr/>
            <p:nvPr/>
          </p:nvSpPr>
          <p:spPr>
            <a:xfrm>
              <a:off x="111510"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Ultimate Control</a:t>
              </a:r>
            </a:p>
          </p:txBody>
        </p:sp>
        <p:sp>
          <p:nvSpPr>
            <p:cNvPr id="52" name="Rectangle 51"/>
            <p:cNvSpPr/>
            <p:nvPr/>
          </p:nvSpPr>
          <p:spPr>
            <a:xfrm>
              <a:off x="111511"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Admin</a:t>
              </a:r>
            </a:p>
          </p:txBody>
        </p:sp>
        <p:sp>
          <p:nvSpPr>
            <p:cNvPr id="56" name="Rectangle 55"/>
            <p:cNvSpPr/>
            <p:nvPr/>
          </p:nvSpPr>
          <p:spPr>
            <a:xfrm>
              <a:off x="10968834"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Platform Mindset</a:t>
              </a:r>
            </a:p>
          </p:txBody>
        </p:sp>
        <p:sp>
          <p:nvSpPr>
            <p:cNvPr id="59" name="Rectangle 58"/>
            <p:cNvSpPr/>
            <p:nvPr/>
          </p:nvSpPr>
          <p:spPr>
            <a:xfrm>
              <a:off x="10968834"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Cost and Agility</a:t>
              </a:r>
            </a:p>
          </p:txBody>
        </p:sp>
        <p:sp>
          <p:nvSpPr>
            <p:cNvPr id="60" name="Rectangle 59"/>
            <p:cNvSpPr/>
            <p:nvPr/>
          </p:nvSpPr>
          <p:spPr>
            <a:xfrm>
              <a:off x="10968834"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Developer</a:t>
              </a:r>
            </a:p>
          </p:txBody>
        </p:sp>
        <p:sp>
          <p:nvSpPr>
            <p:cNvPr id="34" name="Left-Right Arrow 33"/>
            <p:cNvSpPr/>
            <p:nvPr/>
          </p:nvSpPr>
          <p:spPr>
            <a:xfrm>
              <a:off x="1320955" y="3885977"/>
              <a:ext cx="9557416" cy="565669"/>
            </a:xfrm>
            <a:prstGeom prst="leftRightArrow">
              <a:avLst>
                <a:gd name="adj1" fmla="val 67016"/>
                <a:gd name="adj2" fmla="val 50000"/>
              </a:avLst>
            </a:prstGeom>
            <a:gradFill flip="none" rotWithShape="1">
              <a:gsLst>
                <a:gs pos="0">
                  <a:srgbClr val="00188F"/>
                </a:gs>
                <a:gs pos="100000">
                  <a:srgbClr val="0078D7">
                    <a:alpha val="5000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Traditional Model 						Cloud Model</a:t>
              </a:r>
            </a:p>
          </p:txBody>
        </p:sp>
      </p:grpSp>
      <p:sp>
        <p:nvSpPr>
          <p:cNvPr id="35" name="Rectangle 34"/>
          <p:cNvSpPr/>
          <p:nvPr/>
        </p:nvSpPr>
        <p:spPr>
          <a:xfrm>
            <a:off x="12306466" y="1355288"/>
            <a:ext cx="451654" cy="4723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5"/>
          <p:cNvSpPr/>
          <p:nvPr/>
        </p:nvSpPr>
        <p:spPr>
          <a:xfrm>
            <a:off x="12292887" y="1883823"/>
            <a:ext cx="451654" cy="472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36"/>
          <p:cNvSpPr/>
          <p:nvPr/>
        </p:nvSpPr>
        <p:spPr>
          <a:xfrm>
            <a:off x="12311998" y="2432991"/>
            <a:ext cx="451654" cy="47237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p:cNvSpPr/>
          <p:nvPr/>
        </p:nvSpPr>
        <p:spPr>
          <a:xfrm>
            <a:off x="12306466" y="2958918"/>
            <a:ext cx="451654" cy="472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Rectangle 38"/>
          <p:cNvSpPr/>
          <p:nvPr/>
        </p:nvSpPr>
        <p:spPr>
          <a:xfrm>
            <a:off x="12306466" y="3444527"/>
            <a:ext cx="451654" cy="472375"/>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39"/>
          <p:cNvSpPr/>
          <p:nvPr/>
        </p:nvSpPr>
        <p:spPr>
          <a:xfrm>
            <a:off x="12306466" y="3964738"/>
            <a:ext cx="451654" cy="472375"/>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p:cNvSpPr/>
          <p:nvPr/>
        </p:nvSpPr>
        <p:spPr>
          <a:xfrm>
            <a:off x="12306466" y="4490665"/>
            <a:ext cx="451654" cy="47237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 y="6100995"/>
            <a:ext cx="1688963" cy="757005"/>
          </a:xfrm>
          <a:prstGeom prst="rect">
            <a:avLst/>
          </a:prstGeom>
          <a:solidFill>
            <a:schemeClr val="bg1"/>
          </a:solidFill>
        </p:spPr>
      </p:pic>
    </p:spTree>
    <p:extLst>
      <p:ext uri="{BB962C8B-B14F-4D97-AF65-F5344CB8AC3E}">
        <p14:creationId xmlns:p14="http://schemas.microsoft.com/office/powerpoint/2010/main" val="472202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42"/>
                                        </p:tgtEl>
                                        <p:attrNameLst>
                                          <p:attrName>ppt_x</p:attrName>
                                          <p:attrName>ppt_y</p:attrName>
                                        </p:attrNameLst>
                                      </p:cBhvr>
                                      <p:rCtr x="951" y="0"/>
                                    </p:animMotion>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fltVal val="0"/>
                                          </p:val>
                                        </p:tav>
                                        <p:tav tm="100000">
                                          <p:val>
                                            <p:strVal val="#ppt_h"/>
                                          </p:val>
                                        </p:tav>
                                      </p:tavLst>
                                    </p:anim>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7"/>
                                        </p:tgtEl>
                                        <p:attrNameLst>
                                          <p:attrName>style.visibility</p:attrName>
                                        </p:attrNameLst>
                                      </p:cBhvr>
                                      <p:to>
                                        <p:strVal val="visible"/>
                                      </p:to>
                                    </p:set>
                                    <p:animEffect transition="in" filter="fade">
                                      <p:cBhvr>
                                        <p:cTn id="49" dur="500"/>
                                        <p:tgtEl>
                                          <p:spTgt spid="47"/>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500"/>
                                        <p:tgtEl>
                                          <p:spTgt spid="17"/>
                                        </p:tgtEl>
                                      </p:cBhvr>
                                    </p:animEffect>
                                  </p:childTnLst>
                                </p:cTn>
                              </p:par>
                            </p:childTnLst>
                          </p:cTn>
                        </p:par>
                        <p:par>
                          <p:cTn id="63" fill="hold">
                            <p:stCondLst>
                              <p:cond delay="1500"/>
                            </p:stCondLst>
                            <p:childTnLst>
                              <p:par>
                                <p:cTn id="64" presetID="10" presetClass="entr" presetSubtype="0" fill="hold" grpId="0"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fade">
                                      <p:cBhvr>
                                        <p:cTn id="6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7" grpId="0" animBg="1"/>
      <p:bldP spid="18" grpId="0" animBg="1"/>
      <p:bldP spid="19" grpId="0" animBg="1"/>
      <p:bldP spid="55" grpId="0" animBg="1"/>
      <p:bldP spid="4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1461"/>
            <a:ext cx="11890296" cy="1822988"/>
          </a:xfrm>
        </p:spPr>
        <p:txBody>
          <a:bodyPr/>
          <a:lstStyle/>
          <a:p>
            <a:r>
              <a:rPr lang="en-US" dirty="0"/>
              <a:t>Architect Defined</a:t>
            </a:r>
          </a:p>
        </p:txBody>
      </p:sp>
      <p:sp>
        <p:nvSpPr>
          <p:cNvPr id="4" name="Text Placeholder 3"/>
          <p:cNvSpPr>
            <a:spLocks noGrp="1"/>
          </p:cNvSpPr>
          <p:nvPr>
            <p:ph type="body" sz="quarter" idx="14"/>
          </p:nvPr>
        </p:nvSpPr>
        <p:spPr>
          <a:xfrm>
            <a:off x="0" y="1714500"/>
            <a:ext cx="11890296" cy="2590800"/>
          </a:xfrm>
        </p:spPr>
        <p:txBody>
          <a:bodyPr/>
          <a:lstStyle/>
          <a:p>
            <a:pPr marL="0" indent="0"/>
            <a:r>
              <a:rPr lang="en-US" sz="4000" dirty="0"/>
              <a:t>Noun: </a:t>
            </a:r>
          </a:p>
          <a:p>
            <a:pPr marL="0" indent="0"/>
            <a:r>
              <a:rPr lang="en-US" sz="4000" dirty="0"/>
              <a:t>1. a person who designs and in many cases also supervises construction</a:t>
            </a:r>
          </a:p>
          <a:p>
            <a:pPr marL="0" indent="0"/>
            <a:r>
              <a:rPr lang="en-US" sz="4000" dirty="0"/>
              <a:t>2. the deviser, maker, or creator of anything: the architects of the Constitution of the United States.</a:t>
            </a:r>
          </a:p>
          <a:p>
            <a:pPr marL="0" indent="0"/>
            <a:endParaRPr lang="en-US" sz="4000" dirty="0"/>
          </a:p>
          <a:p>
            <a:pPr marL="0" indent="0"/>
            <a:r>
              <a:rPr lang="en-US" sz="4000" dirty="0"/>
              <a:t>Verb:</a:t>
            </a:r>
          </a:p>
          <a:p>
            <a:pPr marL="0" indent="0"/>
            <a:r>
              <a:rPr lang="en-US" sz="4000" dirty="0"/>
              <a:t>4. to plan, organize, or structure as an architect: The house is well architected.</a:t>
            </a:r>
          </a:p>
          <a:p>
            <a:pPr marL="0" indent="0"/>
            <a:endParaRPr lang="en-US" sz="4000" dirty="0"/>
          </a:p>
          <a:p>
            <a:pPr marL="0" indent="0"/>
            <a:endParaRPr lang="en-US" sz="4000" dirty="0"/>
          </a:p>
        </p:txBody>
      </p:sp>
      <p:sp>
        <p:nvSpPr>
          <p:cNvPr id="5" name="Explosion 2 4"/>
          <p:cNvSpPr/>
          <p:nvPr/>
        </p:nvSpPr>
        <p:spPr>
          <a:xfrm>
            <a:off x="6864439" y="-314325"/>
            <a:ext cx="6078675" cy="2796637"/>
          </a:xfrm>
          <a:prstGeom prst="irregularSeal2">
            <a:avLst/>
          </a:prstGeom>
          <a:solidFill>
            <a:srgbClr val="92D05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2800" dirty="0">
                <a:solidFill>
                  <a:schemeClr val="bg1"/>
                </a:solidFill>
              </a:rPr>
              <a:t>Given Challenge </a:t>
            </a:r>
          </a:p>
          <a:p>
            <a:pPr algn="ctr"/>
            <a:r>
              <a:rPr lang="en-US" sz="2800" dirty="0">
                <a:solidFill>
                  <a:schemeClr val="bg1"/>
                </a:solidFill>
              </a:rPr>
              <a:t>&lt;=&gt; </a:t>
            </a:r>
          </a:p>
          <a:p>
            <a:pPr algn="ctr"/>
            <a:r>
              <a:rPr lang="en-US" sz="2800" dirty="0">
                <a:solidFill>
                  <a:schemeClr val="bg1"/>
                </a:solidFill>
              </a:rPr>
              <a:t>Create Solution</a:t>
            </a:r>
            <a:endParaRPr lang="en-US" sz="2400" dirty="0">
              <a:solidFill>
                <a:schemeClr val="bg1"/>
              </a:solidFill>
            </a:endParaRPr>
          </a:p>
        </p:txBody>
      </p:sp>
    </p:spTree>
    <p:extLst>
      <p:ext uri="{BB962C8B-B14F-4D97-AF65-F5344CB8AC3E}">
        <p14:creationId xmlns:p14="http://schemas.microsoft.com/office/powerpoint/2010/main" val="308686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CF420-5C9B-4F2C-B05E-B9BFD4FEB41A}"/>
              </a:ext>
            </a:extLst>
          </p:cNvPr>
          <p:cNvSpPr>
            <a:spLocks noGrp="1"/>
          </p:cNvSpPr>
          <p:nvPr>
            <p:ph type="title"/>
          </p:nvPr>
        </p:nvSpPr>
        <p:spPr>
          <a:xfrm>
            <a:off x="839788" y="457200"/>
            <a:ext cx="3932237" cy="870155"/>
          </a:xfrm>
        </p:spPr>
        <p:txBody>
          <a:bodyPr/>
          <a:lstStyle/>
          <a:p>
            <a:r>
              <a:rPr lang="en-US" dirty="0"/>
              <a:t>DevOps Journey</a:t>
            </a:r>
          </a:p>
        </p:txBody>
      </p:sp>
      <p:sp>
        <p:nvSpPr>
          <p:cNvPr id="4" name="Content Placeholder 3">
            <a:extLst>
              <a:ext uri="{FF2B5EF4-FFF2-40B4-BE49-F238E27FC236}">
                <a16:creationId xmlns:a16="http://schemas.microsoft.com/office/drawing/2014/main" id="{968EE8EE-1331-4C8E-AAAE-730936216664}"/>
              </a:ext>
            </a:extLst>
          </p:cNvPr>
          <p:cNvSpPr>
            <a:spLocks noGrp="1"/>
          </p:cNvSpPr>
          <p:nvPr>
            <p:ph idx="1"/>
          </p:nvPr>
        </p:nvSpPr>
        <p:spPr>
          <a:xfrm>
            <a:off x="6705599" y="400301"/>
            <a:ext cx="5165263" cy="2080240"/>
          </a:xfrm>
        </p:spPr>
        <p:txBody>
          <a:bodyPr>
            <a:normAutofit/>
          </a:bodyPr>
          <a:lstStyle/>
          <a:p>
            <a:pPr marL="0" indent="0">
              <a:buNone/>
            </a:pPr>
            <a:r>
              <a:rPr lang="en-US" sz="2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2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1800" dirty="0"/>
          </a:p>
          <a:p>
            <a:pPr marL="0" indent="0">
              <a:buNone/>
            </a:pPr>
            <a:endParaRPr lang="en-US" dirty="0"/>
          </a:p>
        </p:txBody>
      </p:sp>
      <p:sp>
        <p:nvSpPr>
          <p:cNvPr id="9" name="Text Placeholder 8">
            <a:extLst>
              <a:ext uri="{FF2B5EF4-FFF2-40B4-BE49-F238E27FC236}">
                <a16:creationId xmlns:a16="http://schemas.microsoft.com/office/drawing/2014/main" id="{C32F2E63-AB09-4CD6-931A-35534ABA3364}"/>
              </a:ext>
            </a:extLst>
          </p:cNvPr>
          <p:cNvSpPr>
            <a:spLocks noGrp="1"/>
          </p:cNvSpPr>
          <p:nvPr>
            <p:ph type="body" sz="half" idx="2"/>
          </p:nvPr>
        </p:nvSpPr>
        <p:spPr>
          <a:xfrm>
            <a:off x="737419" y="1651819"/>
            <a:ext cx="6779341" cy="4217169"/>
          </a:xfrm>
        </p:spPr>
        <p:txBody>
          <a:bodyPr/>
          <a:lstStyle/>
          <a:p>
            <a:pPr marL="285750" indent="-285750">
              <a:buFont typeface="Arial" panose="020B0604020202020204" pitchFamily="34" charset="0"/>
              <a:buChar char="•"/>
            </a:pPr>
            <a:r>
              <a:rPr lang="en-US" sz="2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Not Started?</a:t>
            </a:r>
          </a:p>
          <a:p>
            <a:pPr marL="285750" indent="-285750">
              <a:buFont typeface="Arial" panose="020B0604020202020204" pitchFamily="34" charset="0"/>
              <a:buChar char="•"/>
            </a:pPr>
            <a:r>
              <a:rPr lang="en-US" sz="2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ready started:</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eel you should be able to get results faster</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It is too hard </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akes too long</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is too much bureaucracy</a:t>
            </a:r>
          </a:p>
          <a:p>
            <a:pPr marL="742950" lvl="1" indent="-285750">
              <a:buFont typeface="Arial" panose="020B0604020202020204" pitchFamily="34" charset="0"/>
              <a:buChar char="•"/>
            </a:pPr>
            <a:endPar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endParaRPr>
          </a:p>
          <a:p>
            <a:pPr lvl="1"/>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a:t>
            </a:r>
            <a:endParaRPr lang="en-US" dirty="0"/>
          </a:p>
          <a:p>
            <a:r>
              <a:rPr lang="en-US" dirty="0">
                <a:sym typeface="Wingdings" panose="05000000000000000000" pitchFamily="2" charset="2"/>
              </a:rPr>
              <a:t>How to Join:  Reach out to your Sales Team; cc </a:t>
            </a:r>
            <a:r>
              <a:rPr lang="en-US" dirty="0">
                <a:sym typeface="Wingdings" panose="05000000000000000000" pitchFamily="2" charset="2"/>
                <a:hlinkClick r:id="rId3"/>
              </a:rPr>
              <a:t>dstolts@microsoft.com</a:t>
            </a:r>
            <a:endParaRPr lang="en-US" dirty="0">
              <a:sym typeface="Wingdings" panose="05000000000000000000" pitchFamily="2" charset="2"/>
            </a:endParaRPr>
          </a:p>
          <a:p>
            <a:r>
              <a:rPr lang="en-US" sz="2400" b="1" dirty="0">
                <a:sym typeface="Wingdings" panose="05000000000000000000" pitchFamily="2" charset="2"/>
              </a:rPr>
              <a:t>Alert:</a:t>
            </a:r>
            <a:r>
              <a:rPr lang="en-US" b="1" dirty="0">
                <a:sym typeface="Wingdings" panose="05000000000000000000" pitchFamily="2" charset="2"/>
              </a:rPr>
              <a:t> Many pre-</a:t>
            </a:r>
            <a:r>
              <a:rPr lang="en-US" b="1" dirty="0" err="1">
                <a:sym typeface="Wingdings" panose="05000000000000000000" pitchFamily="2" charset="2"/>
              </a:rPr>
              <a:t>req’s</a:t>
            </a:r>
            <a:r>
              <a:rPr lang="en-US" b="1" dirty="0">
                <a:sym typeface="Wingdings" panose="05000000000000000000" pitchFamily="2" charset="2"/>
              </a:rPr>
              <a:t> </a:t>
            </a:r>
          </a:p>
        </p:txBody>
      </p:sp>
      <p:sp>
        <p:nvSpPr>
          <p:cNvPr id="5" name="Rectangle 4">
            <a:extLst>
              <a:ext uri="{FF2B5EF4-FFF2-40B4-BE49-F238E27FC236}">
                <a16:creationId xmlns:a16="http://schemas.microsoft.com/office/drawing/2014/main" id="{3CD312FF-F05B-409D-AAFB-B316460BB786}"/>
              </a:ext>
            </a:extLst>
          </p:cNvPr>
          <p:cNvSpPr/>
          <p:nvPr/>
        </p:nvSpPr>
        <p:spPr>
          <a:xfrm>
            <a:off x="6479458" y="767358"/>
            <a:ext cx="4649206" cy="461665"/>
          </a:xfrm>
          <a:prstGeom prst="rect">
            <a:avLst/>
          </a:prstGeom>
        </p:spPr>
        <p:txBody>
          <a:bodyPr wrap="square">
            <a:spAutoFit/>
          </a:bodyPr>
          <a:lstStyle/>
          <a:p>
            <a:endParaRPr lang="en-US" sz="2400" dirty="0"/>
          </a:p>
        </p:txBody>
      </p:sp>
      <p:sp>
        <p:nvSpPr>
          <p:cNvPr id="11" name="Rectangle 10">
            <a:extLst>
              <a:ext uri="{FF2B5EF4-FFF2-40B4-BE49-F238E27FC236}">
                <a16:creationId xmlns:a16="http://schemas.microsoft.com/office/drawing/2014/main" id="{FD1A6B69-DACB-4078-9F1D-67C163205590}"/>
              </a:ext>
            </a:extLst>
          </p:cNvPr>
          <p:cNvSpPr/>
          <p:nvPr/>
        </p:nvSpPr>
        <p:spPr>
          <a:xfrm>
            <a:off x="98321" y="6017340"/>
            <a:ext cx="10205977" cy="646331"/>
          </a:xfrm>
          <a:prstGeom prst="rect">
            <a:avLst/>
          </a:prstGeom>
        </p:spPr>
        <p:txBody>
          <a:bodyPr wrap="square">
            <a:spAutoFit/>
          </a:bodyPr>
          <a:lstStyle/>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t Microsoft show how to kick your journey into high gear. </a:t>
            </a:r>
          </a:p>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Where you are executing at top speed with lower amounts of energy being consumed.</a:t>
            </a:r>
            <a:endParaRPr lang="en-US" dirty="0"/>
          </a:p>
        </p:txBody>
      </p:sp>
    </p:spTree>
    <p:extLst>
      <p:ext uri="{BB962C8B-B14F-4D97-AF65-F5344CB8AC3E}">
        <p14:creationId xmlns:p14="http://schemas.microsoft.com/office/powerpoint/2010/main" val="20076880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Kickstart Your DevOps Journey</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lnSpcReduction="1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scribe;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CC15DD-7163-434B-8A5C-61744DE7C52F}"/>
              </a:ext>
            </a:extLst>
          </p:cNvPr>
          <p:cNvSpPr>
            <a:spLocks noGrp="1"/>
          </p:cNvSpPr>
          <p:nvPr>
            <p:ph type="title"/>
          </p:nvPr>
        </p:nvSpPr>
        <p:spPr/>
        <p:txBody>
          <a:bodyPr/>
          <a:lstStyle/>
          <a:p>
            <a:r>
              <a:rPr lang="en-US" dirty="0"/>
              <a:t>Post Hack </a:t>
            </a:r>
          </a:p>
        </p:txBody>
      </p:sp>
    </p:spTree>
    <p:extLst>
      <p:ext uri="{BB962C8B-B14F-4D97-AF65-F5344CB8AC3E}">
        <p14:creationId xmlns:p14="http://schemas.microsoft.com/office/powerpoint/2010/main" val="314458885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F303-4AE3-42C7-BAF1-793A768EE707}"/>
              </a:ext>
            </a:extLst>
          </p:cNvPr>
          <p:cNvSpPr>
            <a:spLocks noGrp="1"/>
          </p:cNvSpPr>
          <p:nvPr>
            <p:ph type="title"/>
          </p:nvPr>
        </p:nvSpPr>
        <p:spPr>
          <a:xfrm>
            <a:off x="838200" y="365125"/>
            <a:ext cx="10515600" cy="662781"/>
          </a:xfrm>
        </p:spPr>
        <p:txBody>
          <a:bodyPr>
            <a:normAutofit fontScale="90000"/>
          </a:bodyPr>
          <a:lstStyle/>
          <a:p>
            <a:r>
              <a:rPr lang="en-US" dirty="0"/>
              <a:t>End of Event Brainstorming</a:t>
            </a:r>
          </a:p>
        </p:txBody>
      </p:sp>
      <p:sp>
        <p:nvSpPr>
          <p:cNvPr id="3" name="Text Placeholder 2">
            <a:extLst>
              <a:ext uri="{FF2B5EF4-FFF2-40B4-BE49-F238E27FC236}">
                <a16:creationId xmlns:a16="http://schemas.microsoft.com/office/drawing/2014/main" id="{F2CEE951-5D64-41B3-B13B-C8B43F782591}"/>
              </a:ext>
            </a:extLst>
          </p:cNvPr>
          <p:cNvSpPr>
            <a:spLocks noGrp="1"/>
          </p:cNvSpPr>
          <p:nvPr>
            <p:ph type="body" sz="quarter" idx="10"/>
          </p:nvPr>
        </p:nvSpPr>
        <p:spPr>
          <a:xfrm>
            <a:off x="277788" y="1027906"/>
            <a:ext cx="5378548" cy="4403072"/>
          </a:xfrm>
        </p:spPr>
        <p:txBody>
          <a:bodyPr/>
          <a:lstStyle/>
          <a:p>
            <a:r>
              <a:rPr lang="en-US" dirty="0"/>
              <a:t>Accomplishments</a:t>
            </a:r>
          </a:p>
          <a:p>
            <a:r>
              <a:rPr lang="en-US" dirty="0"/>
              <a:t>Goals</a:t>
            </a:r>
          </a:p>
          <a:p>
            <a:r>
              <a:rPr lang="en-US" dirty="0"/>
              <a:t>Team Needs</a:t>
            </a:r>
          </a:p>
          <a:p>
            <a:pPr lvl="1"/>
            <a:r>
              <a:rPr lang="en-US" dirty="0"/>
              <a:t>Training</a:t>
            </a:r>
          </a:p>
          <a:p>
            <a:pPr lvl="1"/>
            <a:r>
              <a:rPr lang="en-US" dirty="0"/>
              <a:t>Support</a:t>
            </a:r>
          </a:p>
          <a:p>
            <a:pPr lvl="1"/>
            <a:r>
              <a:rPr lang="en-US" dirty="0"/>
              <a:t>Impediments</a:t>
            </a:r>
          </a:p>
          <a:p>
            <a:r>
              <a:rPr lang="en-US" dirty="0"/>
              <a:t>Strategy </a:t>
            </a:r>
          </a:p>
          <a:p>
            <a:pPr lvl="1"/>
            <a:r>
              <a:rPr lang="en-US" dirty="0"/>
              <a:t>Future </a:t>
            </a:r>
          </a:p>
          <a:p>
            <a:pPr lvl="1"/>
            <a:r>
              <a:rPr lang="en-US" dirty="0"/>
              <a:t>Build What’s Next</a:t>
            </a:r>
          </a:p>
        </p:txBody>
      </p:sp>
      <p:sp>
        <p:nvSpPr>
          <p:cNvPr id="4" name="Text Placeholder 3">
            <a:extLst>
              <a:ext uri="{FF2B5EF4-FFF2-40B4-BE49-F238E27FC236}">
                <a16:creationId xmlns:a16="http://schemas.microsoft.com/office/drawing/2014/main" id="{91DF2FAE-A521-4A36-A142-10E21B38F47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F0E8C086-0ECB-4CD6-A3EC-13B2A17D47A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452" t="4506" r="14665" b="10436"/>
          <a:stretch/>
        </p:blipFill>
        <p:spPr>
          <a:xfrm>
            <a:off x="3399046" y="1426806"/>
            <a:ext cx="9074631" cy="5305964"/>
          </a:xfrm>
          <a:prstGeom prst="rect">
            <a:avLst/>
          </a:prstGeom>
        </p:spPr>
      </p:pic>
    </p:spTree>
    <p:extLst>
      <p:ext uri="{BB962C8B-B14F-4D97-AF65-F5344CB8AC3E}">
        <p14:creationId xmlns:p14="http://schemas.microsoft.com/office/powerpoint/2010/main" val="153644113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0315E-4FED-4725-BDED-934B5E5C6B4A}"/>
              </a:ext>
            </a:extLst>
          </p:cNvPr>
          <p:cNvSpPr>
            <a:spLocks noGrp="1"/>
          </p:cNvSpPr>
          <p:nvPr>
            <p:ph type="title"/>
          </p:nvPr>
        </p:nvSpPr>
        <p:spPr>
          <a:xfrm>
            <a:off x="269242" y="365125"/>
            <a:ext cx="4769417" cy="1325563"/>
          </a:xfrm>
        </p:spPr>
        <p:txBody>
          <a:bodyPr/>
          <a:lstStyle/>
          <a:p>
            <a:r>
              <a:rPr lang="en-US" dirty="0"/>
              <a:t>Brainstorming: </a:t>
            </a:r>
            <a:br>
              <a:rPr lang="en-US" dirty="0"/>
            </a:br>
            <a:r>
              <a:rPr lang="en-US" dirty="0"/>
              <a:t>AHA Moments</a:t>
            </a:r>
          </a:p>
        </p:txBody>
      </p:sp>
      <p:sp>
        <p:nvSpPr>
          <p:cNvPr id="3" name="Text Placeholder 2">
            <a:extLst>
              <a:ext uri="{FF2B5EF4-FFF2-40B4-BE49-F238E27FC236}">
                <a16:creationId xmlns:a16="http://schemas.microsoft.com/office/drawing/2014/main" id="{16322988-1E43-4055-95D3-390FC6AA9BA3}"/>
              </a:ext>
            </a:extLst>
          </p:cNvPr>
          <p:cNvSpPr>
            <a:spLocks noGrp="1"/>
          </p:cNvSpPr>
          <p:nvPr>
            <p:ph type="body" sz="quarter" idx="10"/>
          </p:nvPr>
        </p:nvSpPr>
        <p:spPr>
          <a:xfrm>
            <a:off x="199874" y="1673512"/>
            <a:ext cx="5378548" cy="1395767"/>
          </a:xfrm>
        </p:spPr>
        <p:txBody>
          <a:bodyPr/>
          <a:lstStyle/>
          <a:p>
            <a:pPr marL="0" indent="0">
              <a:buNone/>
            </a:pPr>
            <a:r>
              <a:rPr lang="en-US" dirty="0"/>
              <a:t>When did it click for you that this is a significant game changer?</a:t>
            </a:r>
          </a:p>
        </p:txBody>
      </p:sp>
      <p:sp>
        <p:nvSpPr>
          <p:cNvPr id="4" name="Text Placeholder 3">
            <a:extLst>
              <a:ext uri="{FF2B5EF4-FFF2-40B4-BE49-F238E27FC236}">
                <a16:creationId xmlns:a16="http://schemas.microsoft.com/office/drawing/2014/main" id="{8A604110-9BF7-4C4C-A46A-25C6B66127A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8AA9B335-8827-41A2-9290-8EF89FCC3C4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182" r="23524" b="8322"/>
          <a:stretch/>
        </p:blipFill>
        <p:spPr>
          <a:xfrm>
            <a:off x="5259377" y="365125"/>
            <a:ext cx="6615212" cy="6287288"/>
          </a:xfrm>
          <a:prstGeom prst="rect">
            <a:avLst/>
          </a:prstGeom>
        </p:spPr>
      </p:pic>
    </p:spTree>
    <p:extLst>
      <p:ext uri="{BB962C8B-B14F-4D97-AF65-F5344CB8AC3E}">
        <p14:creationId xmlns:p14="http://schemas.microsoft.com/office/powerpoint/2010/main" val="195191199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2DF84-B40D-401B-B163-028EB1C40CC2}"/>
              </a:ext>
            </a:extLst>
          </p:cNvPr>
          <p:cNvSpPr>
            <a:spLocks noGrp="1"/>
          </p:cNvSpPr>
          <p:nvPr>
            <p:ph type="title"/>
          </p:nvPr>
        </p:nvSpPr>
        <p:spPr/>
        <p:txBody>
          <a:bodyPr/>
          <a:lstStyle/>
          <a:p>
            <a:r>
              <a:rPr lang="en-US" dirty="0"/>
              <a:t>Brainstorming: Scale and Offshore Collaboration</a:t>
            </a:r>
          </a:p>
        </p:txBody>
      </p:sp>
      <p:sp>
        <p:nvSpPr>
          <p:cNvPr id="3" name="Text Placeholder 2">
            <a:extLst>
              <a:ext uri="{FF2B5EF4-FFF2-40B4-BE49-F238E27FC236}">
                <a16:creationId xmlns:a16="http://schemas.microsoft.com/office/drawing/2014/main" id="{0BA70381-467A-49D6-8B4D-CCB0F71370F7}"/>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E6C5E21-3EDA-4A2E-AC53-F9BFE511098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4B7DBFBF-3223-4E65-9ACB-E63A9BE4C4E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828" t="16490" r="20115" b="22340"/>
          <a:stretch/>
        </p:blipFill>
        <p:spPr>
          <a:xfrm>
            <a:off x="1359987" y="1640824"/>
            <a:ext cx="8948507" cy="5217176"/>
          </a:xfrm>
          <a:prstGeom prst="rect">
            <a:avLst/>
          </a:prstGeom>
        </p:spPr>
      </p:pic>
    </p:spTree>
    <p:extLst>
      <p:ext uri="{BB962C8B-B14F-4D97-AF65-F5344CB8AC3E}">
        <p14:creationId xmlns:p14="http://schemas.microsoft.com/office/powerpoint/2010/main" val="237044467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3E094-10F2-4C82-8F73-F2149C88C56C}"/>
              </a:ext>
            </a:extLst>
          </p:cNvPr>
          <p:cNvSpPr>
            <a:spLocks noGrp="1"/>
          </p:cNvSpPr>
          <p:nvPr>
            <p:ph type="title"/>
          </p:nvPr>
        </p:nvSpPr>
        <p:spPr/>
        <p:txBody>
          <a:bodyPr/>
          <a:lstStyle/>
          <a:p>
            <a:r>
              <a:rPr lang="en-US" dirty="0"/>
              <a:t>End of Event Report</a:t>
            </a:r>
          </a:p>
        </p:txBody>
      </p:sp>
      <p:sp>
        <p:nvSpPr>
          <p:cNvPr id="5" name="Content Placeholder 4">
            <a:extLst>
              <a:ext uri="{FF2B5EF4-FFF2-40B4-BE49-F238E27FC236}">
                <a16:creationId xmlns:a16="http://schemas.microsoft.com/office/drawing/2014/main" id="{01420FDC-A441-401D-878A-D613FEE72795}"/>
              </a:ext>
            </a:extLst>
          </p:cNvPr>
          <p:cNvSpPr>
            <a:spLocks noGrp="1"/>
          </p:cNvSpPr>
          <p:nvPr>
            <p:ph idx="1"/>
          </p:nvPr>
        </p:nvSpPr>
        <p:spPr/>
        <p:txBody>
          <a:bodyPr>
            <a:normAutofit lnSpcReduction="10000"/>
          </a:bodyPr>
          <a:lstStyle/>
          <a:p>
            <a:r>
              <a:rPr lang="en-US" dirty="0"/>
              <a:t>Scrum</a:t>
            </a:r>
          </a:p>
          <a:p>
            <a:r>
              <a:rPr lang="en-US" dirty="0"/>
              <a:t>Executive Report</a:t>
            </a:r>
          </a:p>
          <a:p>
            <a:r>
              <a:rPr lang="en-US" dirty="0"/>
              <a:t>Detailed Report</a:t>
            </a:r>
          </a:p>
          <a:p>
            <a:pPr lvl="1"/>
            <a:r>
              <a:rPr lang="en-US" dirty="0"/>
              <a:t>Accomplishments</a:t>
            </a:r>
          </a:p>
          <a:p>
            <a:pPr lvl="1"/>
            <a:r>
              <a:rPr lang="en-US" dirty="0"/>
              <a:t>Value (Quantify with $ if possible)</a:t>
            </a:r>
          </a:p>
          <a:p>
            <a:pPr lvl="1"/>
            <a:r>
              <a:rPr lang="en-US" dirty="0"/>
              <a:t>Next Steps</a:t>
            </a:r>
          </a:p>
          <a:p>
            <a:pPr lvl="1"/>
            <a:r>
              <a:rPr lang="en-US" dirty="0"/>
              <a:t>Blockers to be addressed (and who is responsible)</a:t>
            </a:r>
          </a:p>
          <a:p>
            <a:pPr lvl="1"/>
            <a:r>
              <a:rPr lang="en-US" dirty="0"/>
              <a:t>What has changed organizationally</a:t>
            </a:r>
          </a:p>
          <a:p>
            <a:pPr lvl="1"/>
            <a:r>
              <a:rPr lang="en-US" dirty="0"/>
              <a:t>What new capabilities or efficiencies have been gained</a:t>
            </a:r>
          </a:p>
          <a:p>
            <a:r>
              <a:rPr lang="en-US" dirty="0"/>
              <a:t>Next Hackathon Date</a:t>
            </a:r>
          </a:p>
          <a:p>
            <a:endParaRPr lang="en-US" dirty="0"/>
          </a:p>
        </p:txBody>
      </p:sp>
    </p:spTree>
    <p:extLst>
      <p:ext uri="{BB962C8B-B14F-4D97-AF65-F5344CB8AC3E}">
        <p14:creationId xmlns:p14="http://schemas.microsoft.com/office/powerpoint/2010/main" val="8760811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ps, Tricks and Field Experiences </a:t>
            </a:r>
          </a:p>
        </p:txBody>
      </p:sp>
      <p:graphicFrame>
        <p:nvGraphicFramePr>
          <p:cNvPr id="7" name="Content Placeholder 6"/>
          <p:cNvGraphicFramePr>
            <a:graphicFrameLocks noGrp="1"/>
          </p:cNvGraphicFramePr>
          <p:nvPr>
            <p:ph sz="half" idx="1"/>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Content Placeholder 7"/>
          <p:cNvGraphicFramePr>
            <a:graphicFrameLocks noGrp="1"/>
          </p:cNvGraphicFramePr>
          <p:nvPr>
            <p:ph sz="half" idx="2"/>
            <p:extLst>
              <p:ext uri="{D42A27DB-BD31-4B8C-83A1-F6EECF244321}">
                <p14:modId xmlns:p14="http://schemas.microsoft.com/office/powerpoint/2010/main" val="1387084355"/>
              </p:ext>
            </p:extLst>
          </p:nvPr>
        </p:nvGraphicFramePr>
        <p:xfrm>
          <a:off x="6188220" y="1884218"/>
          <a:ext cx="5699125" cy="244763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772170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ps, Tricks and Field Experiences </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2347551699"/>
              </p:ext>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ontent Placeholder 3"/>
          <p:cNvSpPr>
            <a:spLocks noGrp="1"/>
          </p:cNvSpPr>
          <p:nvPr>
            <p:ph sz="half" idx="2"/>
          </p:nvPr>
        </p:nvSpPr>
        <p:spPr/>
        <p:txBody>
          <a:bodyPr/>
          <a:lstStyle/>
          <a:p>
            <a:endParaRPr lang="en-US"/>
          </a:p>
        </p:txBody>
      </p:sp>
      <p:graphicFrame>
        <p:nvGraphicFramePr>
          <p:cNvPr id="7" name="Content Placeholder 7"/>
          <p:cNvGraphicFramePr>
            <a:graphicFrameLocks/>
          </p:cNvGraphicFramePr>
          <p:nvPr>
            <p:extLst>
              <p:ext uri="{D42A27DB-BD31-4B8C-83A1-F6EECF244321}">
                <p14:modId xmlns:p14="http://schemas.microsoft.com/office/powerpoint/2010/main" val="393249106"/>
              </p:ext>
            </p:extLst>
          </p:nvPr>
        </p:nvGraphicFramePr>
        <p:xfrm>
          <a:off x="6345238" y="1279525"/>
          <a:ext cx="5699125" cy="49688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3275278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57719" y="108147"/>
            <a:ext cx="11651870" cy="1795962"/>
          </a:xfrm>
        </p:spPr>
        <p:txBody>
          <a:bodyPr>
            <a:normAutofit/>
          </a:bodyPr>
          <a:lstStyle/>
          <a:p>
            <a:r>
              <a:rPr lang="en-US" sz="7198" dirty="0">
                <a:solidFill>
                  <a:schemeClr val="bg1"/>
                </a:solidFill>
              </a:rPr>
              <a:t>Questions… Answered at Events</a:t>
            </a:r>
            <a:endParaRPr lang="en-US" sz="5998" dirty="0">
              <a:solidFill>
                <a:schemeClr val="bg1"/>
              </a:solidFill>
            </a:endParaRPr>
          </a:p>
        </p:txBody>
      </p:sp>
      <p:sp>
        <p:nvSpPr>
          <p:cNvPr id="7" name="TextBox 6"/>
          <p:cNvSpPr txBox="1"/>
          <p:nvPr/>
        </p:nvSpPr>
        <p:spPr>
          <a:xfrm>
            <a:off x="549806" y="338892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8" name="TextBox 7"/>
          <p:cNvSpPr txBox="1"/>
          <p:nvPr/>
        </p:nvSpPr>
        <p:spPr>
          <a:xfrm>
            <a:off x="8194843" y="467015"/>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9" name="TextBox 8"/>
          <p:cNvSpPr txBox="1"/>
          <p:nvPr/>
        </p:nvSpPr>
        <p:spPr>
          <a:xfrm>
            <a:off x="6509664" y="251611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0" name="TextBox 9"/>
          <p:cNvSpPr txBox="1"/>
          <p:nvPr/>
        </p:nvSpPr>
        <p:spPr>
          <a:xfrm>
            <a:off x="885660" y="1303028"/>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1" name="TextBox 10"/>
          <p:cNvSpPr txBox="1"/>
          <p:nvPr/>
        </p:nvSpPr>
        <p:spPr>
          <a:xfrm>
            <a:off x="4114238" y="2916611"/>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3" name="TextBox 12"/>
          <p:cNvSpPr txBox="1"/>
          <p:nvPr/>
        </p:nvSpPr>
        <p:spPr>
          <a:xfrm>
            <a:off x="8773559" y="4719156"/>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5" name="TextBox 14"/>
          <p:cNvSpPr txBox="1"/>
          <p:nvPr/>
        </p:nvSpPr>
        <p:spPr>
          <a:xfrm>
            <a:off x="1741541" y="4886772"/>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6" name="TextBox 15"/>
          <p:cNvSpPr txBox="1"/>
          <p:nvPr/>
        </p:nvSpPr>
        <p:spPr>
          <a:xfrm>
            <a:off x="2048314" y="786146"/>
            <a:ext cx="2823477" cy="6014363"/>
          </a:xfrm>
          <a:prstGeom prst="rect">
            <a:avLst/>
          </a:prstGeom>
          <a:noFill/>
        </p:spPr>
        <p:txBody>
          <a:bodyPr wrap="none" lIns="182854" tIns="146284" rIns="182854" bIns="146284" rtlCol="0">
            <a:spAutoFit/>
          </a:bodyPr>
          <a:lstStyle/>
          <a:p>
            <a:pPr>
              <a:lnSpc>
                <a:spcPct val="90000"/>
              </a:lnSpc>
              <a:spcAft>
                <a:spcPts val="600"/>
              </a:spcAft>
            </a:pPr>
            <a:r>
              <a:rPr lang="en-US" sz="41292" dirty="0">
                <a:solidFill>
                  <a:schemeClr val="bg1"/>
                </a:solidFill>
              </a:rPr>
              <a:t>?</a:t>
            </a:r>
          </a:p>
        </p:txBody>
      </p:sp>
      <p:sp>
        <p:nvSpPr>
          <p:cNvPr id="17" name="TextBox 16"/>
          <p:cNvSpPr txBox="1"/>
          <p:nvPr/>
        </p:nvSpPr>
        <p:spPr>
          <a:xfrm>
            <a:off x="10088472" y="2939149"/>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18" name="TextBox 17"/>
          <p:cNvSpPr txBox="1"/>
          <p:nvPr/>
        </p:nvSpPr>
        <p:spPr>
          <a:xfrm>
            <a:off x="4923546" y="339674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9" name="TextBox 18"/>
          <p:cNvSpPr txBox="1"/>
          <p:nvPr/>
        </p:nvSpPr>
        <p:spPr>
          <a:xfrm>
            <a:off x="5153812" y="164922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0" name="TextBox 19"/>
          <p:cNvSpPr txBox="1"/>
          <p:nvPr/>
        </p:nvSpPr>
        <p:spPr>
          <a:xfrm>
            <a:off x="11269915" y="216605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1" name="TextBox 20"/>
          <p:cNvSpPr txBox="1"/>
          <p:nvPr/>
        </p:nvSpPr>
        <p:spPr>
          <a:xfrm>
            <a:off x="3916043" y="512305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2" name="TextBox 21"/>
          <p:cNvSpPr txBox="1"/>
          <p:nvPr/>
        </p:nvSpPr>
        <p:spPr>
          <a:xfrm>
            <a:off x="7924821" y="4019833"/>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3" name="TextBox 22"/>
          <p:cNvSpPr txBox="1"/>
          <p:nvPr/>
        </p:nvSpPr>
        <p:spPr>
          <a:xfrm>
            <a:off x="2071002" y="255774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4" name="TextBox 23"/>
          <p:cNvSpPr txBox="1"/>
          <p:nvPr/>
        </p:nvSpPr>
        <p:spPr>
          <a:xfrm>
            <a:off x="9813910" y="2091790"/>
            <a:ext cx="1044049" cy="1919676"/>
          </a:xfrm>
          <a:prstGeom prst="rect">
            <a:avLst/>
          </a:prstGeom>
          <a:noFill/>
        </p:spPr>
        <p:txBody>
          <a:bodyPr wrap="none" lIns="182854" tIns="146284" rIns="182854" bIns="146284" rtlCol="0">
            <a:spAutoFit/>
          </a:bodyPr>
          <a:lstStyle/>
          <a:p>
            <a:pPr>
              <a:lnSpc>
                <a:spcPct val="90000"/>
              </a:lnSpc>
              <a:spcAft>
                <a:spcPts val="600"/>
              </a:spcAft>
            </a:pPr>
            <a:r>
              <a:rPr lang="en-US" sz="11498" dirty="0">
                <a:solidFill>
                  <a:schemeClr val="bg1"/>
                </a:solidFill>
              </a:rPr>
              <a:t>?</a:t>
            </a:r>
          </a:p>
        </p:txBody>
      </p:sp>
      <p:sp>
        <p:nvSpPr>
          <p:cNvPr id="25" name="TextBox 24"/>
          <p:cNvSpPr txBox="1"/>
          <p:nvPr/>
        </p:nvSpPr>
        <p:spPr>
          <a:xfrm>
            <a:off x="7533882" y="164922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6" name="TextBox 25"/>
          <p:cNvSpPr txBox="1"/>
          <p:nvPr/>
        </p:nvSpPr>
        <p:spPr>
          <a:xfrm>
            <a:off x="6477736" y="555805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7" name="TextBox 26"/>
          <p:cNvSpPr txBox="1"/>
          <p:nvPr/>
        </p:nvSpPr>
        <p:spPr>
          <a:xfrm>
            <a:off x="5983654" y="2739513"/>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8" name="TextBox 27"/>
          <p:cNvSpPr txBox="1"/>
          <p:nvPr/>
        </p:nvSpPr>
        <p:spPr>
          <a:xfrm>
            <a:off x="9869377" y="4395525"/>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9" name="TextBox 28"/>
          <p:cNvSpPr txBox="1"/>
          <p:nvPr/>
        </p:nvSpPr>
        <p:spPr>
          <a:xfrm>
            <a:off x="428249" y="2893532"/>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30" name="Rectangle 29"/>
          <p:cNvSpPr/>
          <p:nvPr/>
        </p:nvSpPr>
        <p:spPr>
          <a:xfrm>
            <a:off x="1245309" y="6017458"/>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FFFF00"/>
                </a:solidFill>
              </a:rPr>
              <a:t>ITProGuru.com/Join</a:t>
            </a:r>
            <a:endParaRPr lang="en-US" sz="5400" dirty="0">
              <a:solidFill>
                <a:srgbClr val="FFFF00"/>
              </a:solidFill>
            </a:endParaRPr>
          </a:p>
        </p:txBody>
      </p:sp>
    </p:spTree>
    <p:extLst>
      <p:ext uri="{BB962C8B-B14F-4D97-AF65-F5344CB8AC3E}">
        <p14:creationId xmlns:p14="http://schemas.microsoft.com/office/powerpoint/2010/main" val="349263685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52" y="143885"/>
            <a:ext cx="11890296" cy="1822988"/>
          </a:xfrm>
        </p:spPr>
        <p:txBody>
          <a:bodyPr>
            <a:noAutofit/>
          </a:bodyPr>
          <a:lstStyle/>
          <a:p>
            <a:r>
              <a:rPr lang="en-US" sz="6000" b="1" dirty="0"/>
              <a:t>2016 CIO Priorities &amp; Challenges</a:t>
            </a:r>
            <a:endParaRPr lang="en-US" sz="6000" dirty="0"/>
          </a:p>
        </p:txBody>
      </p:sp>
      <p:sp>
        <p:nvSpPr>
          <p:cNvPr id="6" name="Text Placeholder 5"/>
          <p:cNvSpPr>
            <a:spLocks noGrp="1"/>
          </p:cNvSpPr>
          <p:nvPr>
            <p:ph type="body" sz="quarter" idx="14"/>
          </p:nvPr>
        </p:nvSpPr>
        <p:spPr>
          <a:xfrm>
            <a:off x="150852" y="1422183"/>
            <a:ext cx="7875548" cy="3949917"/>
          </a:xfrm>
        </p:spPr>
        <p:txBody>
          <a:bodyPr/>
          <a:lstStyle/>
          <a:p>
            <a:r>
              <a:rPr lang="en-US" sz="3200" dirty="0"/>
              <a:t>Talent has now been recognized globally as the single biggest issue standing in the way of CIOs achieving their objectives.</a:t>
            </a:r>
          </a:p>
          <a:p>
            <a:endParaRPr lang="en-US" sz="2800" dirty="0"/>
          </a:p>
          <a:p>
            <a:r>
              <a:rPr lang="en-US" sz="2800" dirty="0"/>
              <a:t>The biggest talent gaps are around </a:t>
            </a:r>
            <a:r>
              <a:rPr lang="en-US" sz="2800" b="1" dirty="0"/>
              <a:t>Information/Analytics</a:t>
            </a:r>
            <a:br>
              <a:rPr lang="en-US" sz="2800" b="1" dirty="0"/>
            </a:br>
            <a:r>
              <a:rPr lang="en-US" sz="2800" dirty="0"/>
              <a:t>followed by </a:t>
            </a:r>
            <a:r>
              <a:rPr lang="en-US" sz="2800" b="1" dirty="0"/>
              <a:t>business knowledge/acumen</a:t>
            </a:r>
            <a:r>
              <a:rPr lang="en-US" sz="2800" dirty="0"/>
              <a:t>. </a:t>
            </a:r>
            <a:br>
              <a:rPr lang="en-US" sz="2800" dirty="0"/>
            </a:br>
            <a:endParaRPr lang="en-US" sz="2800" dirty="0"/>
          </a:p>
        </p:txBody>
      </p:sp>
      <p:sp>
        <p:nvSpPr>
          <p:cNvPr id="7" name="Rectangle 6"/>
          <p:cNvSpPr/>
          <p:nvPr/>
        </p:nvSpPr>
        <p:spPr>
          <a:xfrm>
            <a:off x="5055361" y="6465732"/>
            <a:ext cx="8264182" cy="369332"/>
          </a:xfrm>
          <a:prstGeom prst="rect">
            <a:avLst/>
          </a:prstGeom>
        </p:spPr>
        <p:txBody>
          <a:bodyPr wrap="square">
            <a:spAutoFit/>
          </a:bodyPr>
          <a:lstStyle/>
          <a:p>
            <a:r>
              <a:rPr lang="en-US" dirty="0"/>
              <a:t>http://www.gartner.com/imagesrv/cio/pdf/cio_agenda_insights_2016.pdf</a:t>
            </a:r>
          </a:p>
        </p:txBody>
      </p:sp>
      <p:pic>
        <p:nvPicPr>
          <p:cNvPr id="10" name="Picture 9"/>
          <p:cNvPicPr>
            <a:picLocks noChangeAspect="1"/>
          </p:cNvPicPr>
          <p:nvPr/>
        </p:nvPicPr>
        <p:blipFill>
          <a:blip r:embed="rId3"/>
          <a:stretch>
            <a:fillRect/>
          </a:stretch>
        </p:blipFill>
        <p:spPr>
          <a:xfrm>
            <a:off x="7352483" y="4500557"/>
            <a:ext cx="1347832" cy="1833051"/>
          </a:xfrm>
          <a:prstGeom prst="rect">
            <a:avLst/>
          </a:prstGeom>
        </p:spPr>
      </p:pic>
      <p:pic>
        <p:nvPicPr>
          <p:cNvPr id="11" name="Picture 10"/>
          <p:cNvPicPr>
            <a:picLocks noChangeAspect="1"/>
          </p:cNvPicPr>
          <p:nvPr/>
        </p:nvPicPr>
        <p:blipFill>
          <a:blip r:embed="rId4"/>
          <a:stretch>
            <a:fillRect/>
          </a:stretch>
        </p:blipFill>
        <p:spPr>
          <a:xfrm>
            <a:off x="8062345" y="1321387"/>
            <a:ext cx="3942857" cy="3552381"/>
          </a:xfrm>
          <a:prstGeom prst="rect">
            <a:avLst/>
          </a:prstGeom>
        </p:spPr>
      </p:pic>
      <p:sp>
        <p:nvSpPr>
          <p:cNvPr id="3" name="Snip Same Side Corner Rectangle 2"/>
          <p:cNvSpPr/>
          <p:nvPr/>
        </p:nvSpPr>
        <p:spPr>
          <a:xfrm>
            <a:off x="245984" y="4873768"/>
            <a:ext cx="4868091" cy="1584960"/>
          </a:xfrm>
          <a:prstGeom prst="snip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3200" dirty="0">
                <a:solidFill>
                  <a:srgbClr val="0070C0"/>
                </a:solidFill>
              </a:rPr>
              <a:t>Understanding what is possible with the cloud can help close the gap</a:t>
            </a:r>
          </a:p>
        </p:txBody>
      </p:sp>
    </p:spTree>
    <p:extLst>
      <p:ext uri="{BB962C8B-B14F-4D97-AF65-F5344CB8AC3E}">
        <p14:creationId xmlns:p14="http://schemas.microsoft.com/office/powerpoint/2010/main" val="273663150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7636" y="1614575"/>
            <a:ext cx="3472776" cy="4276818"/>
          </a:xfrm>
          <a:prstGeom prst="rect">
            <a:avLst/>
          </a:prstGeom>
        </p:spPr>
      </p:pic>
      <p:sp>
        <p:nvSpPr>
          <p:cNvPr id="2" name="Title 1"/>
          <p:cNvSpPr>
            <a:spLocks noGrp="1"/>
          </p:cNvSpPr>
          <p:nvPr>
            <p:ph type="title" idx="4294967295"/>
          </p:nvPr>
        </p:nvSpPr>
        <p:spPr>
          <a:xfrm>
            <a:off x="0" y="149225"/>
            <a:ext cx="11677650" cy="1543050"/>
          </a:xfrm>
        </p:spPr>
        <p:txBody>
          <a:bodyPr>
            <a:noAutofit/>
          </a:bodyPr>
          <a:lstStyle/>
          <a:p>
            <a:r>
              <a:rPr lang="en-US" sz="3599" dirty="0">
                <a:solidFill>
                  <a:schemeClr val="tx2"/>
                </a:solidFill>
              </a:rPr>
              <a:t>Event Notifications – Http://ITProGuru.com/join</a:t>
            </a:r>
            <a:br>
              <a:rPr lang="en-US" sz="3599" dirty="0">
                <a:solidFill>
                  <a:schemeClr val="tx2"/>
                </a:solidFill>
              </a:rPr>
            </a:br>
            <a:r>
              <a:rPr lang="en-US" sz="2400" dirty="0">
                <a:solidFill>
                  <a:schemeClr val="tx2"/>
                </a:solidFill>
              </a:rPr>
              <a:t>Example: Azure Certification Jump Start </a:t>
            </a:r>
            <a:br>
              <a:rPr lang="en-US" sz="2400" dirty="0">
                <a:solidFill>
                  <a:schemeClr val="tx2"/>
                </a:solidFill>
              </a:rPr>
            </a:br>
            <a:r>
              <a:rPr lang="en-US" sz="2800" dirty="0">
                <a:solidFill>
                  <a:schemeClr val="tx2"/>
                </a:solidFill>
              </a:rPr>
              <a:t>70-534 Architecting Microsoft Azure Solutions</a:t>
            </a:r>
            <a:br>
              <a:rPr lang="en-US" sz="3999" dirty="0">
                <a:solidFill>
                  <a:schemeClr val="tx2"/>
                </a:solidFill>
              </a:rPr>
            </a:br>
            <a:endParaRPr lang="en-US" sz="3999" u="sng" dirty="0">
              <a:solidFill>
                <a:schemeClr val="tx2"/>
              </a:solidFill>
            </a:endParaRPr>
          </a:p>
        </p:txBody>
      </p:sp>
      <p:sp>
        <p:nvSpPr>
          <p:cNvPr id="3" name="Content Placeholder 2"/>
          <p:cNvSpPr>
            <a:spLocks noGrp="1"/>
          </p:cNvSpPr>
          <p:nvPr>
            <p:ph idx="4294967295"/>
          </p:nvPr>
        </p:nvSpPr>
        <p:spPr>
          <a:xfrm>
            <a:off x="0" y="1287943"/>
            <a:ext cx="4658400" cy="4711700"/>
          </a:xfrm>
        </p:spPr>
        <p:txBody>
          <a:bodyPr>
            <a:noAutofit/>
          </a:bodyPr>
          <a:lstStyle/>
          <a:p>
            <a:pPr marL="0" indent="0" eaLnBrk="0" fontAlgn="t" hangingPunct="0">
              <a:lnSpc>
                <a:spcPct val="100000"/>
              </a:lnSpc>
              <a:spcBef>
                <a:spcPct val="0"/>
              </a:spcBef>
              <a:spcAft>
                <a:spcPct val="0"/>
              </a:spcAft>
              <a:buNone/>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1 </a:t>
            </a:r>
            <a:r>
              <a:rPr lang="en-US" sz="1200" u="sng" dirty="0">
                <a:hlinkClick r:id="rId4"/>
              </a:rPr>
              <a:t>Design Azure Resource Manager (ARM) networking (5–10%)</a:t>
            </a:r>
            <a:endParaRPr lang="en-US" sz="1200" b="1" dirty="0">
              <a:latin typeface="Calibri" panose="020F0502020204030204" pitchFamily="34" charset="0"/>
              <a:ea typeface="Calibri" panose="020F0502020204030204" pitchFamily="34"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zure virtual networks - Extend on-premise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Azure VPN and Express Route architecture and design </a:t>
            </a: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2 </a:t>
            </a:r>
            <a:r>
              <a:rPr lang="en-US" sz="1200" u="sng" dirty="0">
                <a:hlinkClick r:id="rId5"/>
              </a:rPr>
              <a:t>Secure resources (20–25%)</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identity provider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dentify an appropriate data security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role-based access control (RBAC)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Manage security risks by using an appropriate security solution </a:t>
            </a:r>
            <a:endParaRPr lang="en-US" sz="1800" b="1" dirty="0">
              <a:latin typeface="Calibri" panose="020F0502020204030204" pitchFamily="34" charset="0"/>
              <a:ea typeface="Calibri" panose="020F0502020204030204" pitchFamily="34" charset="0"/>
              <a:cs typeface="Times New Roman" panose="02020603050405020304" pitchFamily="18" charset="0"/>
            </a:endParaRP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3 </a:t>
            </a:r>
            <a:r>
              <a:rPr lang="en-US" sz="1200" u="sng" dirty="0">
                <a:hlinkClick r:id="rId6"/>
              </a:rPr>
              <a:t>Design an application storage and data access strategy (5–10%)</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data storage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lect the appropriate storage option</a:t>
            </a:r>
          </a:p>
          <a:p>
            <a:pPr marL="0" lvl="1" indent="0" fontAlgn="t">
              <a:lnSpc>
                <a:spcPct val="107000"/>
              </a:lnSpc>
              <a:spcBef>
                <a:spcPts val="1000"/>
              </a:spcBef>
              <a:spcAft>
                <a:spcPct val="0"/>
              </a:spcAft>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4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7"/>
              </a:rPr>
              <a:t>Design advanced applications (20–2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compute-intensive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long-runn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ntegrate Azure services in a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messag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applications for background processing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connectivity for hybrid applications</a:t>
            </a:r>
          </a:p>
        </p:txBody>
      </p:sp>
      <p:sp>
        <p:nvSpPr>
          <p:cNvPr id="5" name="Rectangle 4"/>
          <p:cNvSpPr/>
          <p:nvPr/>
        </p:nvSpPr>
        <p:spPr>
          <a:xfrm>
            <a:off x="1701165" y="5923704"/>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0070C0"/>
                </a:solidFill>
              </a:rPr>
              <a:t>ITProGuru.com/Join</a:t>
            </a:r>
            <a:endParaRPr lang="en-US" sz="5400" dirty="0">
              <a:solidFill>
                <a:srgbClr val="0070C0"/>
              </a:solidFill>
            </a:endParaRPr>
          </a:p>
        </p:txBody>
      </p:sp>
      <p:sp>
        <p:nvSpPr>
          <p:cNvPr id="7" name="TextBox 6"/>
          <p:cNvSpPr txBox="1"/>
          <p:nvPr/>
        </p:nvSpPr>
        <p:spPr>
          <a:xfrm>
            <a:off x="10016280" y="684324"/>
            <a:ext cx="2352395" cy="922945"/>
          </a:xfrm>
          <a:prstGeom prst="rect">
            <a:avLst/>
          </a:prstGeom>
          <a:noFill/>
        </p:spPr>
        <p:txBody>
          <a:bodyPr wrap="square" rtlCol="0">
            <a:spAutoFit/>
          </a:bodyPr>
          <a:lstStyle/>
          <a:p>
            <a:r>
              <a:rPr lang="en-US" sz="1799" dirty="0"/>
              <a:t>Brought to you By: </a:t>
            </a:r>
          </a:p>
          <a:p>
            <a:r>
              <a:rPr lang="en-US" sz="1799" dirty="0"/>
              <a:t>@ITProGuru </a:t>
            </a:r>
          </a:p>
          <a:p>
            <a:r>
              <a:rPr lang="en-US" sz="1799" dirty="0"/>
              <a:t>Microsoft</a:t>
            </a:r>
          </a:p>
        </p:txBody>
      </p:sp>
      <p:sp>
        <p:nvSpPr>
          <p:cNvPr id="11" name="Rectangle 10"/>
          <p:cNvSpPr/>
          <p:nvPr/>
        </p:nvSpPr>
        <p:spPr>
          <a:xfrm>
            <a:off x="8717635" y="3972337"/>
            <a:ext cx="3469918" cy="246157"/>
          </a:xfrm>
          <a:prstGeom prst="rect">
            <a:avLst/>
          </a:prstGeom>
        </p:spPr>
        <p:txBody>
          <a:bodyPr wrap="none">
            <a:spAutoFit/>
          </a:bodyPr>
          <a:lstStyle/>
          <a:p>
            <a:r>
              <a:rPr lang="en-US" sz="1000" dirty="0">
                <a:latin typeface="Segoe UI" panose="020B0502040204020203" pitchFamily="34" charset="0"/>
              </a:rPr>
              <a:t>http://www.amazon.com/dp/0735697442/ref=rdr_ext_tmb</a:t>
            </a:r>
            <a:endParaRPr lang="en-US" sz="1000" dirty="0"/>
          </a:p>
        </p:txBody>
      </p:sp>
      <p:sp>
        <p:nvSpPr>
          <p:cNvPr id="8" name="TextBox 7"/>
          <p:cNvSpPr txBox="1"/>
          <p:nvPr/>
        </p:nvSpPr>
        <p:spPr>
          <a:xfrm>
            <a:off x="8717634" y="5857746"/>
            <a:ext cx="3469919" cy="567289"/>
          </a:xfrm>
          <a:prstGeom prst="rect">
            <a:avLst/>
          </a:prstGeom>
          <a:solidFill>
            <a:srgbClr val="FFFF00"/>
          </a:solidFill>
        </p:spPr>
        <p:txBody>
          <a:bodyPr vert="horz" wrap="square" lIns="91440" tIns="91440" rIns="91440" bIns="91440" rtlCol="0" anchor="t">
            <a:noAutofit/>
          </a:bodyPr>
          <a:lstStyle/>
          <a:p>
            <a:pPr algn="ctr"/>
            <a:r>
              <a:rPr lang="en-US" sz="2000" dirty="0">
                <a:solidFill>
                  <a:srgbClr val="7030A0"/>
                </a:solidFill>
                <a:latin typeface="Segoe UI" pitchFamily="34" charset="0"/>
                <a:ea typeface="Segoe UI" pitchFamily="34" charset="0"/>
                <a:cs typeface="Segoe UI" pitchFamily="34" charset="0"/>
              </a:rPr>
              <a:t>Curriculum for Attendees</a:t>
            </a:r>
          </a:p>
        </p:txBody>
      </p:sp>
      <p:sp>
        <p:nvSpPr>
          <p:cNvPr id="10" name="Content Placeholder 2">
            <a:extLst>
              <a:ext uri="{FF2B5EF4-FFF2-40B4-BE49-F238E27FC236}">
                <a16:creationId xmlns:a16="http://schemas.microsoft.com/office/drawing/2014/main" id="{EBD3721A-2689-42AD-89AF-D48D58F19A07}"/>
              </a:ext>
            </a:extLst>
          </p:cNvPr>
          <p:cNvSpPr txBox="1">
            <a:spLocks/>
          </p:cNvSpPr>
          <p:nvPr/>
        </p:nvSpPr>
        <p:spPr>
          <a:xfrm>
            <a:off x="4487460" y="1293674"/>
            <a:ext cx="4109340" cy="509169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5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8"/>
              </a:rPr>
              <a:t>Design Azure Web and Mobile Apps (5–10%)</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Web Application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Mobile Applications </a:t>
            </a:r>
          </a:p>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6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9"/>
              </a:rPr>
              <a:t>Design a management, monitoring, and business continuity strategy (20–2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monitoring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Azure business continuity/disaster recovery (BC/DR) capabil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disaster recovery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zure Automation and PowerShell workflow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the use cases for Azure Automation configuration </a:t>
            </a:r>
          </a:p>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7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10"/>
              </a:rPr>
              <a:t>Architect an Azure Compute infrastructure (10–1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RM Virtual Machines (VM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RM template deployment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for availabilit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 Bonus: Containers</a:t>
            </a:r>
          </a:p>
          <a:p>
            <a:pPr marL="0" lvl="1" indent="0" fontAlgn="t">
              <a:lnSpc>
                <a:spcPct val="100000"/>
              </a:lnSpc>
              <a:spcBef>
                <a:spcPts val="0"/>
              </a:spcBef>
              <a:spcAft>
                <a:spcPct val="0"/>
              </a:spcAft>
              <a:buSzPts val="1000"/>
              <a:buFont typeface="Arial" panose="020B0604020202020204" pitchFamily="34" charset="0"/>
              <a:buNone/>
              <a:tabLst>
                <a:tab pos="228600" algn="l"/>
              </a:tabLst>
            </a:pPr>
            <a:endParaRPr lang="en-US" sz="1200"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6" name="Explosion 1 5"/>
          <p:cNvSpPr/>
          <p:nvPr/>
        </p:nvSpPr>
        <p:spPr>
          <a:xfrm>
            <a:off x="5490816" y="2524223"/>
            <a:ext cx="4211518" cy="3927104"/>
          </a:xfrm>
          <a:prstGeom prst="irregularSeal1">
            <a:avLst/>
          </a:prstGeom>
          <a:solidFill>
            <a:srgbClr val="FFC000">
              <a:alpha val="8200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800" dirty="0">
                <a:solidFill>
                  <a:schemeClr val="tx1"/>
                </a:solidFill>
              </a:rPr>
              <a:t>Join EVENTS Mailing List NOW!</a:t>
            </a:r>
          </a:p>
        </p:txBody>
      </p:sp>
      <p:sp>
        <p:nvSpPr>
          <p:cNvPr id="9" name="TextBox 8">
            <a:extLst>
              <a:ext uri="{FF2B5EF4-FFF2-40B4-BE49-F238E27FC236}">
                <a16:creationId xmlns:a16="http://schemas.microsoft.com/office/drawing/2014/main" id="{932CC09D-4924-4DE7-8D55-C2D76FA3BD49}"/>
              </a:ext>
            </a:extLst>
          </p:cNvPr>
          <p:cNvSpPr txBox="1"/>
          <p:nvPr/>
        </p:nvSpPr>
        <p:spPr>
          <a:xfrm flipH="1">
            <a:off x="124201" y="5557715"/>
            <a:ext cx="2711278" cy="1292662"/>
          </a:xfrm>
          <a:prstGeom prst="rect">
            <a:avLst/>
          </a:prstGeom>
          <a:noFill/>
        </p:spPr>
        <p:txBody>
          <a:bodyPr wrap="square" rtlCol="0">
            <a:spAutoFit/>
          </a:bodyPr>
          <a:lstStyle/>
          <a:p>
            <a:r>
              <a:rPr lang="en-US" sz="2400" dirty="0"/>
              <a:t>Other Event Plans:</a:t>
            </a:r>
          </a:p>
          <a:p>
            <a:r>
              <a:rPr lang="en-US" b="1" dirty="0"/>
              <a:t>DevOps</a:t>
            </a:r>
            <a:r>
              <a:rPr lang="en-US" dirty="0"/>
              <a:t>, </a:t>
            </a:r>
            <a:r>
              <a:rPr lang="en-US" b="1" dirty="0"/>
              <a:t>Containers</a:t>
            </a:r>
            <a:r>
              <a:rPr lang="en-US" dirty="0"/>
              <a:t>, </a:t>
            </a:r>
          </a:p>
          <a:p>
            <a:r>
              <a:rPr lang="en-US" dirty="0"/>
              <a:t>Application Pipeline, </a:t>
            </a:r>
          </a:p>
          <a:p>
            <a:r>
              <a:rPr lang="en-US" dirty="0" err="1"/>
              <a:t>MicroServices</a:t>
            </a:r>
            <a:r>
              <a:rPr lang="en-US" dirty="0"/>
              <a:t> &amp; More</a:t>
            </a:r>
          </a:p>
        </p:txBody>
      </p:sp>
    </p:spTree>
    <p:extLst>
      <p:ext uri="{BB962C8B-B14F-4D97-AF65-F5344CB8AC3E}">
        <p14:creationId xmlns:p14="http://schemas.microsoft.com/office/powerpoint/2010/main" val="1964183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80">
                                          <p:stCondLst>
                                            <p:cond delay="0"/>
                                          </p:stCondLst>
                                        </p:cTn>
                                        <p:tgtEl>
                                          <p:spTgt spid="6"/>
                                        </p:tgtEl>
                                      </p:cBhvr>
                                    </p:animEffect>
                                    <p:anim calcmode="lin" valueType="num">
                                      <p:cBhvr>
                                        <p:cTn id="8"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gtEl>
                                      </p:cBhvr>
                                      <p:to x="100000" y="60000"/>
                                    </p:animScale>
                                    <p:animScale>
                                      <p:cBhvr>
                                        <p:cTn id="14" dur="166" decel="50000">
                                          <p:stCondLst>
                                            <p:cond delay="676"/>
                                          </p:stCondLst>
                                        </p:cTn>
                                        <p:tgtEl>
                                          <p:spTgt spid="6"/>
                                        </p:tgtEl>
                                      </p:cBhvr>
                                      <p:to x="100000" y="100000"/>
                                    </p:animScale>
                                    <p:animScale>
                                      <p:cBhvr>
                                        <p:cTn id="15" dur="26">
                                          <p:stCondLst>
                                            <p:cond delay="1312"/>
                                          </p:stCondLst>
                                        </p:cTn>
                                        <p:tgtEl>
                                          <p:spTgt spid="6"/>
                                        </p:tgtEl>
                                      </p:cBhvr>
                                      <p:to x="100000" y="80000"/>
                                    </p:animScale>
                                    <p:animScale>
                                      <p:cBhvr>
                                        <p:cTn id="16" dur="166" decel="50000">
                                          <p:stCondLst>
                                            <p:cond delay="1338"/>
                                          </p:stCondLst>
                                        </p:cTn>
                                        <p:tgtEl>
                                          <p:spTgt spid="6"/>
                                        </p:tgtEl>
                                      </p:cBhvr>
                                      <p:to x="100000" y="100000"/>
                                    </p:animScale>
                                    <p:animScale>
                                      <p:cBhvr>
                                        <p:cTn id="17" dur="26">
                                          <p:stCondLst>
                                            <p:cond delay="1642"/>
                                          </p:stCondLst>
                                        </p:cTn>
                                        <p:tgtEl>
                                          <p:spTgt spid="6"/>
                                        </p:tgtEl>
                                      </p:cBhvr>
                                      <p:to x="100000" y="90000"/>
                                    </p:animScale>
                                    <p:animScale>
                                      <p:cBhvr>
                                        <p:cTn id="18" dur="166" decel="50000">
                                          <p:stCondLst>
                                            <p:cond delay="1668"/>
                                          </p:stCondLst>
                                        </p:cTn>
                                        <p:tgtEl>
                                          <p:spTgt spid="6"/>
                                        </p:tgtEl>
                                      </p:cBhvr>
                                      <p:to x="100000" y="100000"/>
                                    </p:animScale>
                                    <p:animScale>
                                      <p:cBhvr>
                                        <p:cTn id="19" dur="26">
                                          <p:stCondLst>
                                            <p:cond delay="1808"/>
                                          </p:stCondLst>
                                        </p:cTn>
                                        <p:tgtEl>
                                          <p:spTgt spid="6"/>
                                        </p:tgtEl>
                                      </p:cBhvr>
                                      <p:to x="100000" y="95000"/>
                                    </p:animScale>
                                    <p:animScale>
                                      <p:cBhvr>
                                        <p:cTn id="20" dur="166" decel="50000">
                                          <p:stCondLst>
                                            <p:cond delay="1834"/>
                                          </p:stCondLst>
                                        </p:cTn>
                                        <p:tgtEl>
                                          <p:spTgt spid="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8067834" y="5041180"/>
            <a:ext cx="3524504" cy="1215231"/>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5" name="Rectangle 7"/>
          <p:cNvSpPr>
            <a:spLocks noChangeArrowheads="1"/>
          </p:cNvSpPr>
          <p:nvPr/>
        </p:nvSpPr>
        <p:spPr bwMode="auto">
          <a:xfrm>
            <a:off x="4338255" y="5041180"/>
            <a:ext cx="3529173" cy="1215231"/>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6" name="Rectangle 8"/>
          <p:cNvSpPr>
            <a:spLocks noChangeArrowheads="1"/>
          </p:cNvSpPr>
          <p:nvPr/>
        </p:nvSpPr>
        <p:spPr bwMode="auto">
          <a:xfrm>
            <a:off x="607476" y="5041180"/>
            <a:ext cx="3526060" cy="121523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7" name="Rectangle 9"/>
          <p:cNvSpPr>
            <a:spLocks noChangeArrowheads="1"/>
          </p:cNvSpPr>
          <p:nvPr/>
        </p:nvSpPr>
        <p:spPr bwMode="auto">
          <a:xfrm>
            <a:off x="607477" y="1098652"/>
            <a:ext cx="3526060" cy="187890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8" name="Rectangle 10"/>
          <p:cNvSpPr>
            <a:spLocks noChangeArrowheads="1"/>
          </p:cNvSpPr>
          <p:nvPr/>
        </p:nvSpPr>
        <p:spPr bwMode="auto">
          <a:xfrm>
            <a:off x="4338255" y="1098652"/>
            <a:ext cx="3529173" cy="1878900"/>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9" name="Rectangle 11"/>
          <p:cNvSpPr>
            <a:spLocks noChangeArrowheads="1"/>
          </p:cNvSpPr>
          <p:nvPr/>
        </p:nvSpPr>
        <p:spPr bwMode="auto">
          <a:xfrm>
            <a:off x="8067834" y="1098652"/>
            <a:ext cx="3524504" cy="187890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pic>
        <p:nvPicPr>
          <p:cNvPr id="12" name="Picture 2" descr="technet_rev.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7903" y="1367539"/>
            <a:ext cx="2133374" cy="591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 descr="MVA-rev.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49080" y="1380490"/>
            <a:ext cx="1254771" cy="47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618368"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Deep technical content and free product evaluations</a:t>
            </a:r>
          </a:p>
        </p:txBody>
      </p:sp>
      <p:sp>
        <p:nvSpPr>
          <p:cNvPr id="16" name="TextBox 15"/>
          <p:cNvSpPr txBox="1"/>
          <p:nvPr/>
        </p:nvSpPr>
        <p:spPr>
          <a:xfrm>
            <a:off x="4338255" y="2084568"/>
            <a:ext cx="3529173" cy="597349"/>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Hands-on deep technical labs</a:t>
            </a:r>
          </a:p>
        </p:txBody>
      </p:sp>
      <p:sp>
        <p:nvSpPr>
          <p:cNvPr id="17" name="TextBox 16"/>
          <p:cNvSpPr txBox="1"/>
          <p:nvPr/>
        </p:nvSpPr>
        <p:spPr>
          <a:xfrm>
            <a:off x="8067833"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Free, online, </a:t>
            </a:r>
            <a:br>
              <a:rPr lang="en-US" sz="1961" kern="0" dirty="0">
                <a:solidFill>
                  <a:srgbClr val="EFEFEF"/>
                </a:solidFill>
                <a:latin typeface="Segoe UI Light" pitchFamily="34" charset="0"/>
                <a:ea typeface="MS PGothic" pitchFamily="34" charset="-128"/>
              </a:rPr>
            </a:br>
            <a:r>
              <a:rPr lang="en-US" sz="1961" kern="0" dirty="0">
                <a:solidFill>
                  <a:srgbClr val="EFEFEF"/>
                </a:solidFill>
                <a:latin typeface="Segoe UI Light" pitchFamily="34" charset="0"/>
                <a:ea typeface="MS PGothic" pitchFamily="34" charset="-128"/>
              </a:rPr>
              <a:t>technical courses</a:t>
            </a:r>
          </a:p>
        </p:txBody>
      </p:sp>
      <p:sp>
        <p:nvSpPr>
          <p:cNvPr id="18" name="TextBox 17"/>
          <p:cNvSpPr txBox="1"/>
          <p:nvPr/>
        </p:nvSpPr>
        <p:spPr>
          <a:xfrm>
            <a:off x="618368" y="5041181"/>
            <a:ext cx="3529173" cy="781732"/>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Download Microsoft software trials today.</a:t>
            </a:r>
          </a:p>
        </p:txBody>
      </p:sp>
      <p:sp>
        <p:nvSpPr>
          <p:cNvPr id="19" name="TextBox 18"/>
          <p:cNvSpPr txBox="1"/>
          <p:nvPr/>
        </p:nvSpPr>
        <p:spPr>
          <a:xfrm>
            <a:off x="4338255"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Find Hand On Labs.</a:t>
            </a:r>
          </a:p>
        </p:txBody>
      </p:sp>
      <p:sp>
        <p:nvSpPr>
          <p:cNvPr id="20" name="TextBox 19"/>
          <p:cNvSpPr txBox="1"/>
          <p:nvPr/>
        </p:nvSpPr>
        <p:spPr>
          <a:xfrm>
            <a:off x="8067833"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Take a free online course.</a:t>
            </a:r>
          </a:p>
        </p:txBody>
      </p:sp>
      <p:sp>
        <p:nvSpPr>
          <p:cNvPr id="21" name="Rectangle 20"/>
          <p:cNvSpPr/>
          <p:nvPr/>
        </p:nvSpPr>
        <p:spPr>
          <a:xfrm>
            <a:off x="618369"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evalcenter</a:t>
            </a:r>
          </a:p>
        </p:txBody>
      </p:sp>
      <p:pic>
        <p:nvPicPr>
          <p:cNvPr id="22"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8188"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a:off x="4338257"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a:t>
            </a:r>
            <a:r>
              <a:rPr lang="en-US" sz="1273" kern="0" dirty="0" err="1">
                <a:solidFill>
                  <a:srgbClr val="FFFFFF"/>
                </a:solidFill>
                <a:ea typeface="MS PGothic" pitchFamily="34" charset="-128"/>
              </a:rPr>
              <a:t>virtuallabs</a:t>
            </a:r>
            <a:endParaRPr lang="en-US" sz="1273" kern="0" dirty="0">
              <a:solidFill>
                <a:srgbClr val="FFFFFF"/>
              </a:solidFill>
              <a:ea typeface="MS PGothic" pitchFamily="34" charset="-128"/>
            </a:endParaRPr>
          </a:p>
        </p:txBody>
      </p:sp>
      <p:pic>
        <p:nvPicPr>
          <p:cNvPr id="26"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38076"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p:cNvSpPr/>
          <p:nvPr/>
        </p:nvSpPr>
        <p:spPr>
          <a:xfrm>
            <a:off x="8067833" y="5734454"/>
            <a:ext cx="3057655" cy="479676"/>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microsoftvirtualacademy.com </a:t>
            </a:r>
          </a:p>
        </p:txBody>
      </p:sp>
      <p:pic>
        <p:nvPicPr>
          <p:cNvPr id="29"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67654" y="5765165"/>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607476"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At the TechNet Evaluation Center you can download free, trial versions of Microsoft software, with no feature limits. Dozens of trials are available – all at no cost.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Try Windows Server 2012 R2 for up to 180 days.  Download the Windows 8.1 Enterprise 90-day evaluation. Or try Microsoft Azure at no-cost for up to 90 days.</a:t>
            </a:r>
          </a:p>
        </p:txBody>
      </p:sp>
      <p:sp>
        <p:nvSpPr>
          <p:cNvPr id="24" name="TextBox 23"/>
          <p:cNvSpPr txBox="1"/>
          <p:nvPr/>
        </p:nvSpPr>
        <p:spPr>
          <a:xfrm>
            <a:off x="4339813" y="2977551"/>
            <a:ext cx="3526060" cy="2015728"/>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Hands On Labs offer virtual environments that will take you through guided, technically deep product learning experience.</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in labs that you can complete in 90 minutes or less. There is no complex setup or installation is required to use TechNet Virtual Labs.   </a:t>
            </a:r>
          </a:p>
        </p:txBody>
      </p:sp>
      <p:sp>
        <p:nvSpPr>
          <p:cNvPr id="27" name="TextBox 26"/>
          <p:cNvSpPr txBox="1"/>
          <p:nvPr/>
        </p:nvSpPr>
        <p:spPr>
          <a:xfrm>
            <a:off x="8066279"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Virtual Academy provides free online training on the IT scenarios that are important to your company and your career.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and boost your IT skills with over 100 courses across more than 15 Microsoft technologies including Windows Server, Windows 8</a:t>
            </a:r>
            <a:r>
              <a:rPr lang="en-US" sz="1175" kern="0">
                <a:gradFill>
                  <a:gsLst>
                    <a:gs pos="2917">
                      <a:srgbClr val="505050"/>
                    </a:gs>
                    <a:gs pos="30000">
                      <a:srgbClr val="505050"/>
                    </a:gs>
                  </a:gsLst>
                  <a:lin ang="5400000" scaled="0"/>
                </a:gradFill>
                <a:ea typeface="MS PGothic" pitchFamily="34" charset="-128"/>
              </a:rPr>
              <a:t>, Microsoft </a:t>
            </a:r>
            <a:r>
              <a:rPr lang="en-US" sz="1175" kern="0" dirty="0">
                <a:gradFill>
                  <a:gsLst>
                    <a:gs pos="2917">
                      <a:srgbClr val="505050"/>
                    </a:gs>
                    <a:gs pos="30000">
                      <a:srgbClr val="505050"/>
                    </a:gs>
                  </a:gsLst>
                  <a:lin ang="5400000" scaled="0"/>
                </a:gradFill>
                <a:ea typeface="MS PGothic" pitchFamily="34" charset="-128"/>
              </a:rPr>
              <a:t>Azure, Office 365, virtualization, Windows Phone, and more. </a:t>
            </a:r>
          </a:p>
        </p:txBody>
      </p:sp>
      <p:sp>
        <p:nvSpPr>
          <p:cNvPr id="3" name="TextBox 2"/>
          <p:cNvSpPr txBox="1"/>
          <p:nvPr/>
        </p:nvSpPr>
        <p:spPr>
          <a:xfrm>
            <a:off x="4414782" y="1221806"/>
            <a:ext cx="3451091" cy="621968"/>
          </a:xfrm>
          <a:prstGeom prst="rect">
            <a:avLst/>
          </a:prstGeom>
          <a:noFill/>
        </p:spPr>
        <p:txBody>
          <a:bodyPr wrap="square" lIns="179259" tIns="143407" rIns="179259" bIns="143407" rtlCol="0">
            <a:spAutoFit/>
          </a:bodyPr>
          <a:lstStyle/>
          <a:p>
            <a:pPr defTabSz="913957">
              <a:lnSpc>
                <a:spcPct val="90000"/>
              </a:lnSpc>
              <a:spcAft>
                <a:spcPts val="588"/>
              </a:spcAft>
            </a:pPr>
            <a:r>
              <a:rPr lang="en-US" sz="2353" kern="0" dirty="0">
                <a:solidFill>
                  <a:srgbClr val="EFEFEF"/>
                </a:solidFill>
                <a:ea typeface="MS PGothic" pitchFamily="34" charset="-128"/>
              </a:rPr>
              <a:t>TechNet Virtual Labs</a:t>
            </a:r>
          </a:p>
        </p:txBody>
      </p:sp>
    </p:spTree>
    <p:extLst>
      <p:ext uri="{BB962C8B-B14F-4D97-AF65-F5344CB8AC3E}">
        <p14:creationId xmlns:p14="http://schemas.microsoft.com/office/powerpoint/2010/main" val="262726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546" y="93576"/>
            <a:ext cx="10515600" cy="737697"/>
          </a:xfrm>
        </p:spPr>
        <p:txBody>
          <a:bodyPr/>
          <a:lstStyle/>
          <a:p>
            <a:r>
              <a:rPr lang="en-US" dirty="0"/>
              <a:t>More Resources</a:t>
            </a:r>
          </a:p>
        </p:txBody>
      </p:sp>
      <p:graphicFrame>
        <p:nvGraphicFramePr>
          <p:cNvPr id="3" name="Table 2">
            <a:extLst>
              <a:ext uri="{FF2B5EF4-FFF2-40B4-BE49-F238E27FC236}">
                <a16:creationId xmlns:a16="http://schemas.microsoft.com/office/drawing/2014/main" id="{89B86B2B-93A6-4089-B749-CEB671328547}"/>
              </a:ext>
            </a:extLst>
          </p:cNvPr>
          <p:cNvGraphicFramePr>
            <a:graphicFrameLocks noGrp="1"/>
          </p:cNvGraphicFramePr>
          <p:nvPr>
            <p:extLst>
              <p:ext uri="{D42A27DB-BD31-4B8C-83A1-F6EECF244321}">
                <p14:modId xmlns:p14="http://schemas.microsoft.com/office/powerpoint/2010/main" val="2297776782"/>
              </p:ext>
            </p:extLst>
          </p:nvPr>
        </p:nvGraphicFramePr>
        <p:xfrm>
          <a:off x="504000" y="1519275"/>
          <a:ext cx="11289600" cy="3428625"/>
        </p:xfrm>
        <a:graphic>
          <a:graphicData uri="http://schemas.openxmlformats.org/drawingml/2006/table">
            <a:tbl>
              <a:tblPr firstRow="1" firstCol="1">
                <a:tableStyleId>{5C22544A-7EE6-4342-B048-85BDC9FD1C3A}</a:tableStyleId>
              </a:tblPr>
              <a:tblGrid>
                <a:gridCol w="5390328">
                  <a:extLst>
                    <a:ext uri="{9D8B030D-6E8A-4147-A177-3AD203B41FA5}">
                      <a16:colId xmlns:a16="http://schemas.microsoft.com/office/drawing/2014/main" val="3887258380"/>
                    </a:ext>
                  </a:extLst>
                </a:gridCol>
                <a:gridCol w="5899272">
                  <a:extLst>
                    <a:ext uri="{9D8B030D-6E8A-4147-A177-3AD203B41FA5}">
                      <a16:colId xmlns:a16="http://schemas.microsoft.com/office/drawing/2014/main" val="2883612874"/>
                    </a:ext>
                  </a:extLst>
                </a:gridCol>
              </a:tblGrid>
              <a:tr h="432431">
                <a:tc>
                  <a:txBody>
                    <a:bodyPr/>
                    <a:lstStyle/>
                    <a:p>
                      <a:pPr algn="l" rtl="0" fontAlgn="b"/>
                      <a:r>
                        <a:rPr lang="en-US" sz="3200" u="none" strike="noStrike" dirty="0">
                          <a:effectLst/>
                        </a:rPr>
                        <a:t>Resource</a:t>
                      </a:r>
                      <a:endParaRPr lang="en-US" sz="3200" b="1" i="0" u="none" strike="noStrike" dirty="0">
                        <a:solidFill>
                          <a:srgbClr val="FFFFFF"/>
                        </a:solidFill>
                        <a:effectLst/>
                        <a:latin typeface="Calibri" panose="020F0502020204030204" pitchFamily="34" charset="0"/>
                      </a:endParaRPr>
                    </a:p>
                  </a:txBody>
                  <a:tcPr marL="7620" marR="7620" marT="7620" anchor="b"/>
                </a:tc>
                <a:tc>
                  <a:txBody>
                    <a:bodyPr/>
                    <a:lstStyle/>
                    <a:p>
                      <a:pPr algn="l" rtl="0" fontAlgn="b"/>
                      <a:r>
                        <a:rPr lang="en-US" sz="3200" u="none" strike="noStrike">
                          <a:effectLst/>
                        </a:rPr>
                        <a:t>Link</a:t>
                      </a:r>
                      <a:endParaRPr lang="en-US" sz="3200" b="1" i="0" u="none" strike="noStrike">
                        <a:solidFill>
                          <a:srgbClr val="FFFFFF"/>
                        </a:solidFill>
                        <a:effectLst/>
                        <a:latin typeface="Calibri" panose="020F0502020204030204" pitchFamily="34" charset="0"/>
                      </a:endParaRPr>
                    </a:p>
                  </a:txBody>
                  <a:tcPr marL="7620" marR="7620" marT="7620" anchor="b"/>
                </a:tc>
                <a:extLst>
                  <a:ext uri="{0D108BD9-81ED-4DB2-BD59-A6C34878D82A}">
                    <a16:rowId xmlns:a16="http://schemas.microsoft.com/office/drawing/2014/main" val="2079215054"/>
                  </a:ext>
                </a:extLst>
              </a:tr>
              <a:tr h="483034">
                <a:tc>
                  <a:txBody>
                    <a:bodyPr/>
                    <a:lstStyle/>
                    <a:p>
                      <a:pPr algn="l" rtl="0" fontAlgn="b"/>
                      <a:r>
                        <a:rPr lang="en-US" sz="2400" u="none" strike="noStrike">
                          <a:effectLst/>
                        </a:rPr>
                        <a:t>Virtual Academy Video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mva.microsoft.com/product-training/microsoft-azure#!jobf=IT%20Pros&amp;lang=1033</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407753460"/>
                  </a:ext>
                </a:extLst>
              </a:tr>
              <a:tr h="358826">
                <a:tc>
                  <a:txBody>
                    <a:bodyPr/>
                    <a:lstStyle/>
                    <a:p>
                      <a:pPr algn="l" rtl="0" fontAlgn="b"/>
                      <a:r>
                        <a:rPr lang="en-US" sz="2400" u="none" strike="noStrike">
                          <a:effectLst/>
                        </a:rPr>
                        <a:t>Various On-line training</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www.microsoft.com/en-us/learning/azure-training.aspx</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4026119036"/>
                  </a:ext>
                </a:extLst>
              </a:tr>
              <a:tr h="358826">
                <a:tc>
                  <a:txBody>
                    <a:bodyPr/>
                    <a:lstStyle/>
                    <a:p>
                      <a:pPr algn="l" rtl="0" fontAlgn="b"/>
                      <a:r>
                        <a:rPr lang="en-US" sz="2400" u="none" strike="noStrike">
                          <a:effectLst/>
                        </a:rPr>
                        <a:t>Visual Studio Developer Incentiv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4"/>
                        </a:rPr>
                        <a:t>https://www.visualstudio.com/dev-essentials/</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1837020724"/>
                  </a:ext>
                </a:extLst>
              </a:tr>
              <a:tr h="471534">
                <a:tc>
                  <a:txBody>
                    <a:bodyPr/>
                    <a:lstStyle/>
                    <a:p>
                      <a:pPr algn="l" rtl="0" fontAlgn="b"/>
                      <a:r>
                        <a:rPr lang="en-US" sz="2400" u="none" strike="noStrike">
                          <a:effectLst/>
                        </a:rPr>
                        <a:t>Azure training for AWS professional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5"/>
                        </a:rPr>
                        <a:t>https://openedx.microsoft.com/courses/course-v1%3AMicrosoft%2BAzure213x%2B2016_T4/</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83721050"/>
                  </a:ext>
                </a:extLst>
              </a:tr>
              <a:tr h="548265">
                <a:tc>
                  <a:txBody>
                    <a:bodyPr/>
                    <a:lstStyle/>
                    <a:p>
                      <a:pPr algn="l" rtl="0" fontAlgn="b"/>
                      <a:r>
                        <a:rPr lang="en-US" sz="2400" u="none" strike="noStrike">
                          <a:effectLst/>
                        </a:rPr>
                        <a:t>Microsoft Azure for IT Pros Content Seri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dirty="0">
                          <a:effectLst/>
                          <a:hlinkClick r:id="rId6"/>
                        </a:rPr>
                        <a:t>https://mva.microsoft.com/search/SearchResults.aspx#!q=Microsoft%20Azure%20for%20IT%20Pros%20content%20series&amp;lang=1033</a:t>
                      </a:r>
                      <a:r>
                        <a:rPr lang="en-US" sz="1600" u="sng" strike="noStrike" dirty="0">
                          <a:effectLst/>
                        </a:rPr>
                        <a:t> </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3725432044"/>
                  </a:ext>
                </a:extLst>
              </a:tr>
              <a:tr h="358826">
                <a:tc>
                  <a:txBody>
                    <a:bodyPr/>
                    <a:lstStyle/>
                    <a:p>
                      <a:pPr algn="l" rtl="0" fontAlgn="b"/>
                      <a:r>
                        <a:rPr lang="en-US" sz="2400" u="none" strike="noStrike">
                          <a:effectLst/>
                        </a:rPr>
                        <a:t>LinkedIn Learning Center</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fontAlgn="b"/>
                      <a:r>
                        <a:rPr lang="en-US" sz="1600" u="sng" strike="noStrike" dirty="0">
                          <a:effectLst/>
                          <a:hlinkClick r:id="rId7"/>
                        </a:rPr>
                        <a:t>https://learning.linkedin.com/in/overview</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17597407"/>
                  </a:ext>
                </a:extLst>
              </a:tr>
            </a:tbl>
          </a:graphicData>
        </a:graphic>
      </p:graphicFrame>
      <p:sp>
        <p:nvSpPr>
          <p:cNvPr id="5" name="Rectangle 4">
            <a:extLst>
              <a:ext uri="{FF2B5EF4-FFF2-40B4-BE49-F238E27FC236}">
                <a16:creationId xmlns:a16="http://schemas.microsoft.com/office/drawing/2014/main" id="{FA521D52-F5BD-4BF7-B5DE-CED743A605A6}"/>
              </a:ext>
            </a:extLst>
          </p:cNvPr>
          <p:cNvSpPr/>
          <p:nvPr/>
        </p:nvSpPr>
        <p:spPr>
          <a:xfrm>
            <a:off x="1104000" y="5445835"/>
            <a:ext cx="9336000" cy="954107"/>
          </a:xfrm>
          <a:prstGeom prst="rect">
            <a:avLst/>
          </a:prstGeom>
        </p:spPr>
        <p:txBody>
          <a:bodyPr wrap="square">
            <a:spAutoFit/>
          </a:bodyPr>
          <a:lstStyle/>
          <a:p>
            <a:r>
              <a:rPr lang="en-US" sz="2800" dirty="0"/>
              <a:t>Microsoft Learning</a:t>
            </a:r>
          </a:p>
          <a:p>
            <a:r>
              <a:rPr lang="en-US" sz="2800" dirty="0">
                <a:hlinkClick r:id="rId8"/>
              </a:rPr>
              <a:t>https://www.microsoft.com/en-us/learning/default.aspx</a:t>
            </a:r>
            <a:r>
              <a:rPr lang="en-US" sz="2800" dirty="0"/>
              <a:t> </a:t>
            </a:r>
          </a:p>
        </p:txBody>
      </p:sp>
    </p:spTree>
    <p:extLst>
      <p:ext uri="{BB962C8B-B14F-4D97-AF65-F5344CB8AC3E}">
        <p14:creationId xmlns:p14="http://schemas.microsoft.com/office/powerpoint/2010/main" val="3601080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838200" y="365126"/>
            <a:ext cx="10515600" cy="734002"/>
          </a:xfrm>
        </p:spPr>
        <p:txBody>
          <a:bodyPr>
            <a:normAutofit/>
          </a:bodyPr>
          <a:lstStyle/>
          <a:p>
            <a:r>
              <a:rPr lang="en-US" dirty="0"/>
              <a:t>Translate Business Objectives Into Actions</a:t>
            </a:r>
          </a:p>
        </p:txBody>
      </p:sp>
      <p:sp>
        <p:nvSpPr>
          <p:cNvPr id="8" name="Content Placeholder 7"/>
          <p:cNvSpPr>
            <a:spLocks noGrp="1"/>
          </p:cNvSpPr>
          <p:nvPr>
            <p:ph idx="1"/>
          </p:nvPr>
        </p:nvSpPr>
        <p:spPr>
          <a:xfrm>
            <a:off x="762001" y="1207911"/>
            <a:ext cx="11091331" cy="4888089"/>
          </a:xfrm>
        </p:spPr>
        <p:txBody>
          <a:bodyPr>
            <a:normAutofit/>
          </a:bodyPr>
          <a:lstStyle/>
          <a:p>
            <a:r>
              <a:rPr lang="en-US" sz="3600" dirty="0"/>
              <a:t>Identify Problems </a:t>
            </a:r>
            <a:r>
              <a:rPr lang="en-US" dirty="0"/>
              <a:t>(especially root problems)</a:t>
            </a:r>
          </a:p>
          <a:p>
            <a:r>
              <a:rPr lang="en-US" sz="3600" dirty="0"/>
              <a:t>Determine the requirements to solve each problem</a:t>
            </a:r>
          </a:p>
          <a:p>
            <a:r>
              <a:rPr lang="en-US" sz="3600" dirty="0"/>
              <a:t>Determine technology available to help solve the problem</a:t>
            </a:r>
          </a:p>
          <a:p>
            <a:r>
              <a:rPr lang="en-US" sz="3600" dirty="0"/>
              <a:t>Identify strategic partners</a:t>
            </a:r>
          </a:p>
          <a:p>
            <a:r>
              <a:rPr lang="en-US" sz="3600" dirty="0"/>
              <a:t>Determine likely barriers</a:t>
            </a:r>
          </a:p>
          <a:p>
            <a:r>
              <a:rPr lang="en-US" sz="3600" dirty="0"/>
              <a:t>Determine additional value (if any)</a:t>
            </a:r>
          </a:p>
          <a:p>
            <a:r>
              <a:rPr lang="en-US" sz="3600" dirty="0"/>
              <a:t>Get Started</a:t>
            </a:r>
          </a:p>
        </p:txBody>
      </p:sp>
      <p:grpSp>
        <p:nvGrpSpPr>
          <p:cNvPr id="9" name="Group 8"/>
          <p:cNvGrpSpPr/>
          <p:nvPr/>
        </p:nvGrpSpPr>
        <p:grpSpPr>
          <a:xfrm>
            <a:off x="7075015" y="2981708"/>
            <a:ext cx="3036711" cy="1340494"/>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9053015" y="4136550"/>
            <a:ext cx="2329061" cy="776353"/>
          </a:xfrm>
          <a:prstGeom prst="rect">
            <a:avLst/>
          </a:prstGeom>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4943389"/>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4943390"/>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4948600"/>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1491890"/>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1863562"/>
            <a:ext cx="1303997" cy="2559869"/>
          </a:xfrm>
          <a:prstGeom prst="rect">
            <a:avLst/>
          </a:prstGeom>
        </p:spPr>
      </p:pic>
      <p:grpSp>
        <p:nvGrpSpPr>
          <p:cNvPr id="5" name="Group 4"/>
          <p:cNvGrpSpPr/>
          <p:nvPr/>
        </p:nvGrpSpPr>
        <p:grpSpPr>
          <a:xfrm>
            <a:off x="4478999" y="1490603"/>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746214" y="621351"/>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2655652"/>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316989"/>
            <a:ext cx="121204" cy="134464"/>
          </a:xfrm>
          <a:prstGeom prst="rect">
            <a:avLst/>
          </a:prstGeom>
        </p:spPr>
      </p:pic>
      <p:pic>
        <p:nvPicPr>
          <p:cNvPr id="57" name="Picture 56"/>
          <p:cNvPicPr>
            <a:picLocks/>
          </p:cNvPicPr>
          <p:nvPr/>
        </p:nvPicPr>
        <p:blipFill>
          <a:blip r:embed="rId9"/>
          <a:stretch>
            <a:fillRect/>
          </a:stretch>
        </p:blipFill>
        <p:spPr>
          <a:xfrm flipH="1">
            <a:off x="2850343" y="2316989"/>
            <a:ext cx="121204" cy="134464"/>
          </a:xfrm>
          <a:prstGeom prst="rect">
            <a:avLst/>
          </a:prstGeom>
        </p:spPr>
      </p:pic>
      <p:sp>
        <p:nvSpPr>
          <p:cNvPr id="58" name="TextBox 57"/>
          <p:cNvSpPr txBox="1"/>
          <p:nvPr/>
        </p:nvSpPr>
        <p:spPr>
          <a:xfrm>
            <a:off x="2402004" y="2655652"/>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998560"/>
            <a:ext cx="12152060" cy="960263"/>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Shared Mission:</a:t>
            </a:r>
            <a:br>
              <a:rPr lang="en-US" sz="20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eliver a great product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39936" y="1061226"/>
            <a:ext cx="10127352" cy="4700130"/>
          </a:xfrm>
          <a:prstGeom prst="rect">
            <a:avLst/>
          </a:prstGeom>
        </p:spPr>
      </p:pic>
      <p:sp>
        <p:nvSpPr>
          <p:cNvPr id="3" name="Title 2"/>
          <p:cNvSpPr>
            <a:spLocks noGrp="1"/>
          </p:cNvSpPr>
          <p:nvPr>
            <p:ph type="title"/>
          </p:nvPr>
        </p:nvSpPr>
        <p:spPr>
          <a:xfrm>
            <a:off x="228599" y="228601"/>
            <a:ext cx="11734801" cy="502920"/>
          </a:xfrm>
        </p:spPr>
        <p:txBody>
          <a:bodyPr>
            <a:normAutofit fontScale="90000"/>
          </a:bodyPr>
          <a:lstStyle/>
          <a:p>
            <a:pPr algn="ctr"/>
            <a:r>
              <a:rPr lang="en-US" b="1" dirty="0"/>
              <a:t>Culture Change &amp; Digital Transformation</a:t>
            </a:r>
          </a:p>
        </p:txBody>
      </p:sp>
      <p:sp>
        <p:nvSpPr>
          <p:cNvPr id="2" name="Rectangle 1">
            <a:extLst>
              <a:ext uri="{FF2B5EF4-FFF2-40B4-BE49-F238E27FC236}">
                <a16:creationId xmlns:a16="http://schemas.microsoft.com/office/drawing/2014/main" id="{EF830D8F-CE11-43F7-8089-5295073EE146}"/>
              </a:ext>
            </a:extLst>
          </p:cNvPr>
          <p:cNvSpPr>
            <a:spLocks noChangeArrowheads="1"/>
          </p:cNvSpPr>
          <p:nvPr/>
        </p:nvSpPr>
        <p:spPr bwMode="auto">
          <a:xfrm>
            <a:off x="3559277" y="5957426"/>
            <a:ext cx="8250977" cy="938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tx1"/>
                </a:solidFill>
                <a:effectLst/>
                <a:latin typeface="Arial" panose="020B0604020202020204" pitchFamily="34" charset="0"/>
              </a:rPr>
              <a:t>Hit Refresh</a:t>
            </a:r>
          </a:p>
          <a:p>
            <a:pPr marL="457200" marR="0" lvl="1" indent="0" algn="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rPr>
              <a:t>The Quest to Rediscover Microsoft's Soul and Imagine a Better Future for Everyone</a:t>
            </a:r>
            <a:endParaRPr kumimoji="0" lang="en-US" altLang="en-US" sz="6000" b="0" i="0" u="none" strike="noStrike" cap="none" normalizeH="0" baseline="0" dirty="0">
              <a:ln>
                <a:noFill/>
              </a:ln>
              <a:solidFill>
                <a:schemeClr val="tx1"/>
              </a:solidFill>
              <a:effectLst/>
              <a:latin typeface="Arial" panose="020B0604020202020204" pitchFamily="34" charset="0"/>
            </a:endParaRPr>
          </a:p>
          <a:p>
            <a:pPr marL="457200" marR="0" lvl="1" indent="0" algn="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rPr>
              <a:t>2017 - Satya Nadella, Greg Shaw, Jill Tracie Nichols - Biography &amp; Memoirs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6" name="Picture 5">
            <a:extLst>
              <a:ext uri="{FF2B5EF4-FFF2-40B4-BE49-F238E27FC236}">
                <a16:creationId xmlns:a16="http://schemas.microsoft.com/office/drawing/2014/main" id="{02FC4CA2-7F41-489D-8953-CCEF02F8D5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5646" y="4528676"/>
            <a:ext cx="952500" cy="1428750"/>
          </a:xfrm>
          <a:prstGeom prst="rect">
            <a:avLst/>
          </a:prstGeom>
        </p:spPr>
      </p:pic>
    </p:spTree>
    <p:extLst>
      <p:ext uri="{BB962C8B-B14F-4D97-AF65-F5344CB8AC3E}">
        <p14:creationId xmlns:p14="http://schemas.microsoft.com/office/powerpoint/2010/main" val="26933617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2" y="142929"/>
            <a:ext cx="10515600" cy="1325563"/>
          </a:xfrm>
        </p:spPr>
        <p:txBody>
          <a:bodyPr/>
          <a:lstStyle/>
          <a:p>
            <a:r>
              <a:rPr lang="en-US" dirty="0">
                <a:gradFill>
                  <a:gsLst>
                    <a:gs pos="1250">
                      <a:schemeClr val="tx2"/>
                    </a:gs>
                    <a:gs pos="100000">
                      <a:schemeClr val="tx2"/>
                    </a:gs>
                  </a:gsLst>
                  <a:lin ang="0" scaled="0"/>
                </a:gradFill>
              </a:rPr>
              <a:t>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250">
                      <a:schemeClr val="tx2"/>
                    </a:gs>
                    <a:gs pos="100000">
                      <a:schemeClr val="tx2"/>
                    </a:gs>
                  </a:gsLst>
                  <a:lin ang="0" scaled="0"/>
                </a:gradFill>
              </a:rPr>
              <a:t>DevOps Frame</a:t>
            </a:r>
          </a:p>
        </p:txBody>
      </p:sp>
      <p:grpSp>
        <p:nvGrpSpPr>
          <p:cNvPr id="4" name="Group 3"/>
          <p:cNvGrpSpPr/>
          <p:nvPr/>
        </p:nvGrpSpPr>
        <p:grpSpPr>
          <a:xfrm>
            <a:off x="8584407" y="279191"/>
            <a:ext cx="3278705" cy="6299620"/>
            <a:chOff x="6670202" y="0"/>
            <a:chExt cx="3344450" cy="6425941"/>
          </a:xfrm>
        </p:grpSpPr>
        <p:sp>
          <p:nvSpPr>
            <p:cNvPr id="50" name="Rectangle 49"/>
            <p:cNvSpPr/>
            <p:nvPr/>
          </p:nvSpPr>
          <p:spPr>
            <a:xfrm>
              <a:off x="6670202" y="0"/>
              <a:ext cx="3344450" cy="6425941"/>
            </a:xfrm>
            <a:prstGeom prst="rect">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1" name="Rounded Rectangle 4"/>
            <p:cNvSpPr/>
            <p:nvPr/>
          </p:nvSpPr>
          <p:spPr>
            <a:xfrm>
              <a:off x="6670202" y="0"/>
              <a:ext cx="3344450" cy="19277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3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Product w/ Practice</a:t>
              </a:r>
            </a:p>
          </p:txBody>
        </p:sp>
      </p:grpSp>
      <p:grpSp>
        <p:nvGrpSpPr>
          <p:cNvPr id="5" name="Group 4"/>
          <p:cNvGrpSpPr/>
          <p:nvPr/>
        </p:nvGrpSpPr>
        <p:grpSpPr>
          <a:xfrm>
            <a:off x="4952897" y="279191"/>
            <a:ext cx="3280915" cy="6299620"/>
            <a:chOff x="5062787" y="0"/>
            <a:chExt cx="3346704" cy="6425941"/>
          </a:xfrm>
        </p:grpSpPr>
        <p:sp>
          <p:nvSpPr>
            <p:cNvPr id="48" name="Rounded Rectangle 47"/>
            <p:cNvSpPr/>
            <p:nvPr/>
          </p:nvSpPr>
          <p:spPr>
            <a:xfrm>
              <a:off x="5062787" y="0"/>
              <a:ext cx="3346704" cy="6425941"/>
            </a:xfrm>
            <a:prstGeom prst="roundRect">
              <a:avLst>
                <a:gd name="adj" fmla="val 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9" name="Rounded Rectangle 6"/>
            <p:cNvSpPr/>
            <p:nvPr/>
          </p:nvSpPr>
          <p:spPr>
            <a:xfrm>
              <a:off x="5062787" y="0"/>
              <a:ext cx="3346704" cy="19277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2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Practices</a:t>
              </a:r>
            </a:p>
          </p:txBody>
        </p:sp>
      </p:grpSp>
      <p:grpSp>
        <p:nvGrpSpPr>
          <p:cNvPr id="6" name="Group 5"/>
          <p:cNvGrpSpPr/>
          <p:nvPr/>
        </p:nvGrpSpPr>
        <p:grpSpPr>
          <a:xfrm>
            <a:off x="467700" y="1752168"/>
            <a:ext cx="4134601" cy="3353665"/>
            <a:chOff x="464366" y="1502513"/>
            <a:chExt cx="4217508" cy="3420913"/>
          </a:xfrm>
        </p:grpSpPr>
        <p:sp>
          <p:nvSpPr>
            <p:cNvPr id="46" name="Rounded Rectangle 45"/>
            <p:cNvSpPr/>
            <p:nvPr/>
          </p:nvSpPr>
          <p:spPr>
            <a:xfrm>
              <a:off x="464366" y="1502513"/>
              <a:ext cx="4217508" cy="3420913"/>
            </a:xfrm>
            <a:prstGeom prst="roundRect">
              <a:avLst>
                <a:gd name="adj" fmla="val 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7" name="Rounded Rectangle 8"/>
            <p:cNvSpPr/>
            <p:nvPr/>
          </p:nvSpPr>
          <p:spPr>
            <a:xfrm>
              <a:off x="654821" y="1502513"/>
              <a:ext cx="3836598" cy="102627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1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Overview</a:t>
              </a:r>
            </a:p>
          </p:txBody>
        </p:sp>
      </p:grpSp>
      <p:grpSp>
        <p:nvGrpSpPr>
          <p:cNvPr id="8" name="Group 7"/>
          <p:cNvGrpSpPr/>
          <p:nvPr/>
        </p:nvGrpSpPr>
        <p:grpSpPr>
          <a:xfrm>
            <a:off x="4756318" y="3057243"/>
            <a:ext cx="65391" cy="1307819"/>
            <a:chOff x="4838980" y="2833758"/>
            <a:chExt cx="66702" cy="1334044"/>
          </a:xfrm>
        </p:grpSpPr>
        <p:sp>
          <p:nvSpPr>
            <p:cNvPr id="42" name="Straight Connector 11"/>
            <p:cNvSpPr/>
            <p:nvPr/>
          </p:nvSpPr>
          <p:spPr>
            <a:xfrm rot="18289469">
              <a:off x="4205309" y="3487443"/>
              <a:ext cx="1334044" cy="26674"/>
            </a:xfrm>
            <a:custGeom>
              <a:avLst/>
              <a:gdLst/>
              <a:ahLst/>
              <a:cxnLst/>
              <a:rect l="0" t="0" r="0" b="0"/>
              <a:pathLst>
                <a:path>
                  <a:moveTo>
                    <a:pt x="0" y="13337"/>
                  </a:moveTo>
                  <a:lnTo>
                    <a:pt x="1334044" y="13337"/>
                  </a:lnTo>
                </a:path>
              </a:pathLst>
            </a:custGeom>
            <a:noFill/>
            <a:ln>
              <a:solidFill>
                <a:schemeClr val="bg2"/>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43" name="Straight Connector 12"/>
            <p:cNvSpPr/>
            <p:nvPr/>
          </p:nvSpPr>
          <p:spPr>
            <a:xfrm rot="18289469">
              <a:off x="4838980" y="3467429"/>
              <a:ext cx="66702" cy="66702"/>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grpSp>
        <p:nvGrpSpPr>
          <p:cNvPr id="10" name="Group 9"/>
          <p:cNvGrpSpPr/>
          <p:nvPr/>
        </p:nvGrpSpPr>
        <p:grpSpPr>
          <a:xfrm>
            <a:off x="7969988" y="2882962"/>
            <a:ext cx="919747" cy="45987"/>
            <a:chOff x="7069625" y="2655982"/>
            <a:chExt cx="938190" cy="46909"/>
          </a:xfrm>
        </p:grpSpPr>
        <p:sp>
          <p:nvSpPr>
            <p:cNvPr id="38" name="Straight Connector 15"/>
            <p:cNvSpPr/>
            <p:nvPr/>
          </p:nvSpPr>
          <p:spPr>
            <a:xfrm rot="19457599">
              <a:off x="7069625" y="2666100"/>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9" name="Straight Connector 16"/>
            <p:cNvSpPr/>
            <p:nvPr/>
          </p:nvSpPr>
          <p:spPr>
            <a:xfrm rot="19457599">
              <a:off x="7515265" y="2655982"/>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36" name="Rectangle 35"/>
          <p:cNvSpPr/>
          <p:nvPr/>
        </p:nvSpPr>
        <p:spPr>
          <a:xfrm>
            <a:off x="8803211" y="2170776"/>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Rounded Rectangle 18"/>
          <p:cNvSpPr/>
          <p:nvPr/>
        </p:nvSpPr>
        <p:spPr>
          <a:xfrm>
            <a:off x="8845287" y="2309112"/>
            <a:ext cx="2789038" cy="6568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Azure Deployment Template with Azure Website + SQL DB </a:t>
            </a:r>
          </a:p>
        </p:txBody>
      </p:sp>
      <p:grpSp>
        <p:nvGrpSpPr>
          <p:cNvPr id="12" name="Group 11"/>
          <p:cNvGrpSpPr/>
          <p:nvPr/>
        </p:nvGrpSpPr>
        <p:grpSpPr>
          <a:xfrm>
            <a:off x="7969988" y="3419761"/>
            <a:ext cx="919747" cy="45987"/>
            <a:chOff x="7069625" y="3203545"/>
            <a:chExt cx="938190" cy="46909"/>
          </a:xfrm>
        </p:grpSpPr>
        <p:sp>
          <p:nvSpPr>
            <p:cNvPr id="34" name="Straight Connector 19"/>
            <p:cNvSpPr/>
            <p:nvPr/>
          </p:nvSpPr>
          <p:spPr>
            <a:xfrm rot="2142401">
              <a:off x="7069625" y="3213662"/>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5" name="Straight Connector 20"/>
            <p:cNvSpPr/>
            <p:nvPr/>
          </p:nvSpPr>
          <p:spPr>
            <a:xfrm rot="2142401">
              <a:off x="7515265" y="3203545"/>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32" name="Rectangle 31"/>
          <p:cNvSpPr/>
          <p:nvPr/>
        </p:nvSpPr>
        <p:spPr>
          <a:xfrm>
            <a:off x="8803211" y="3244372"/>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3" name="Rounded Rectangle 22"/>
          <p:cNvSpPr/>
          <p:nvPr/>
        </p:nvSpPr>
        <p:spPr>
          <a:xfrm>
            <a:off x="8845287" y="3410664"/>
            <a:ext cx="2789038" cy="60097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Chef Recipe with Linux VM </a:t>
            </a:r>
            <a:br>
              <a:rPr lang="en-US" sz="1568" dirty="0">
                <a:gradFill>
                  <a:gsLst>
                    <a:gs pos="2917">
                      <a:schemeClr val="bg1"/>
                    </a:gs>
                    <a:gs pos="30000">
                      <a:schemeClr val="bg1"/>
                    </a:gs>
                  </a:gsLst>
                  <a:lin ang="5400000" scaled="0"/>
                </a:gradFill>
              </a:rPr>
            </a:br>
            <a:r>
              <a:rPr lang="en-US" sz="1568" dirty="0">
                <a:gradFill>
                  <a:gsLst>
                    <a:gs pos="2917">
                      <a:schemeClr val="bg1"/>
                    </a:gs>
                    <a:gs pos="30000">
                      <a:schemeClr val="bg1"/>
                    </a:gs>
                  </a:gsLst>
                  <a:lin ang="5400000" scaled="0"/>
                </a:gradFill>
              </a:rPr>
              <a:t>on Azure</a:t>
            </a:r>
          </a:p>
        </p:txBody>
      </p:sp>
      <p:grpSp>
        <p:nvGrpSpPr>
          <p:cNvPr id="14" name="Group 13"/>
          <p:cNvGrpSpPr/>
          <p:nvPr/>
        </p:nvGrpSpPr>
        <p:grpSpPr>
          <a:xfrm>
            <a:off x="4756318" y="4130839"/>
            <a:ext cx="65391" cy="1307819"/>
            <a:chOff x="4838980" y="3928882"/>
            <a:chExt cx="66702" cy="1334044"/>
          </a:xfrm>
        </p:grpSpPr>
        <p:sp>
          <p:nvSpPr>
            <p:cNvPr id="30" name="Straight Connector 23"/>
            <p:cNvSpPr/>
            <p:nvPr/>
          </p:nvSpPr>
          <p:spPr>
            <a:xfrm rot="3310531">
              <a:off x="4205309" y="4582567"/>
              <a:ext cx="1334044" cy="26674"/>
            </a:xfrm>
            <a:custGeom>
              <a:avLst/>
              <a:gdLst/>
              <a:ahLst/>
              <a:cxnLst/>
              <a:rect l="0" t="0" r="0" b="0"/>
              <a:pathLst>
                <a:path>
                  <a:moveTo>
                    <a:pt x="0" y="13337"/>
                  </a:moveTo>
                  <a:lnTo>
                    <a:pt x="1334044" y="13337"/>
                  </a:lnTo>
                </a:path>
              </a:pathLst>
            </a:custGeom>
            <a:noFill/>
            <a:ln>
              <a:solidFill>
                <a:schemeClr val="bg2"/>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1" name="Straight Connector 24"/>
            <p:cNvSpPr/>
            <p:nvPr/>
          </p:nvSpPr>
          <p:spPr>
            <a:xfrm rot="3310531">
              <a:off x="4838980" y="4562553"/>
              <a:ext cx="66702" cy="66702"/>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grpSp>
        <p:nvGrpSpPr>
          <p:cNvPr id="16" name="Group 15"/>
          <p:cNvGrpSpPr/>
          <p:nvPr/>
        </p:nvGrpSpPr>
        <p:grpSpPr>
          <a:xfrm>
            <a:off x="7969988" y="5030155"/>
            <a:ext cx="919747" cy="45987"/>
            <a:chOff x="7069625" y="4846231"/>
            <a:chExt cx="938190" cy="46909"/>
          </a:xfrm>
        </p:grpSpPr>
        <p:sp>
          <p:nvSpPr>
            <p:cNvPr id="26" name="Straight Connector 27"/>
            <p:cNvSpPr/>
            <p:nvPr/>
          </p:nvSpPr>
          <p:spPr>
            <a:xfrm rot="19457599">
              <a:off x="7069625" y="4856348"/>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7" name="Straight Connector 28"/>
            <p:cNvSpPr/>
            <p:nvPr/>
          </p:nvSpPr>
          <p:spPr>
            <a:xfrm rot="19457599">
              <a:off x="7515265" y="4846231"/>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24" name="Rectangle 23"/>
          <p:cNvSpPr/>
          <p:nvPr/>
        </p:nvSpPr>
        <p:spPr>
          <a:xfrm>
            <a:off x="8803211" y="4317968"/>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ounded Rectangle 30"/>
          <p:cNvSpPr/>
          <p:nvPr/>
        </p:nvSpPr>
        <p:spPr>
          <a:xfrm>
            <a:off x="8845287" y="4502098"/>
            <a:ext cx="2789038" cy="5653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VSTS (</a:t>
            </a:r>
            <a:r>
              <a:rPr lang="en-US" sz="1568" dirty="0" err="1">
                <a:gradFill>
                  <a:gsLst>
                    <a:gs pos="2917">
                      <a:schemeClr val="bg1"/>
                    </a:gs>
                    <a:gs pos="30000">
                      <a:schemeClr val="bg1"/>
                    </a:gs>
                  </a:gsLst>
                  <a:lin ang="5400000" scaled="0"/>
                </a:gradFill>
              </a:rPr>
              <a:t>git</a:t>
            </a:r>
            <a:r>
              <a:rPr lang="en-US" sz="1568" dirty="0">
                <a:gradFill>
                  <a:gsLst>
                    <a:gs pos="2917">
                      <a:schemeClr val="bg1"/>
                    </a:gs>
                    <a:gs pos="30000">
                      <a:schemeClr val="bg1"/>
                    </a:gs>
                  </a:gsLst>
                  <a:lin ang="5400000" scaled="0"/>
                </a:gradFill>
              </a:rPr>
              <a:t>) + Jenkins (build)</a:t>
            </a:r>
          </a:p>
        </p:txBody>
      </p:sp>
      <p:grpSp>
        <p:nvGrpSpPr>
          <p:cNvPr id="18" name="Group 17"/>
          <p:cNvGrpSpPr/>
          <p:nvPr/>
        </p:nvGrpSpPr>
        <p:grpSpPr>
          <a:xfrm>
            <a:off x="7969988" y="5566953"/>
            <a:ext cx="919747" cy="45987"/>
            <a:chOff x="7069625" y="5393793"/>
            <a:chExt cx="938190" cy="46909"/>
          </a:xfrm>
        </p:grpSpPr>
        <p:sp>
          <p:nvSpPr>
            <p:cNvPr id="22" name="Straight Connector 31"/>
            <p:cNvSpPr/>
            <p:nvPr/>
          </p:nvSpPr>
          <p:spPr>
            <a:xfrm rot="2142401">
              <a:off x="7069625" y="5403910"/>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3" name="Straight Connector 32"/>
            <p:cNvSpPr/>
            <p:nvPr/>
          </p:nvSpPr>
          <p:spPr>
            <a:xfrm rot="2142401">
              <a:off x="7515265" y="5393793"/>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20" name="Rectangle 19"/>
          <p:cNvSpPr/>
          <p:nvPr/>
        </p:nvSpPr>
        <p:spPr>
          <a:xfrm>
            <a:off x="8803211" y="5391565"/>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Rounded Rectangle 34"/>
          <p:cNvSpPr/>
          <p:nvPr/>
        </p:nvSpPr>
        <p:spPr>
          <a:xfrm>
            <a:off x="8845287" y="5557856"/>
            <a:ext cx="2789038" cy="60097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err="1">
                <a:gradFill>
                  <a:gsLst>
                    <a:gs pos="2917">
                      <a:schemeClr val="bg1"/>
                    </a:gs>
                    <a:gs pos="30000">
                      <a:schemeClr val="bg1"/>
                    </a:gs>
                  </a:gsLst>
                  <a:lin ang="5400000" scaled="0"/>
                </a:gradFill>
              </a:rPr>
              <a:t>Github</a:t>
            </a:r>
            <a:r>
              <a:rPr lang="en-US" sz="1568" dirty="0">
                <a:gradFill>
                  <a:gsLst>
                    <a:gs pos="2917">
                      <a:schemeClr val="bg1"/>
                    </a:gs>
                    <a:gs pos="30000">
                      <a:schemeClr val="bg1"/>
                    </a:gs>
                  </a:gsLst>
                  <a:lin ang="5400000" scaled="0"/>
                </a:gradFill>
              </a:rPr>
              <a:t> + VSTS </a:t>
            </a:r>
            <a:r>
              <a:rPr lang="en-US" sz="1568" dirty="0" err="1">
                <a:gradFill>
                  <a:gsLst>
                    <a:gs pos="2917">
                      <a:schemeClr val="bg1"/>
                    </a:gs>
                    <a:gs pos="30000">
                      <a:schemeClr val="bg1"/>
                    </a:gs>
                  </a:gsLst>
                  <a:lin ang="5400000" scaled="0"/>
                </a:gradFill>
              </a:rPr>
              <a:t>Gradle</a:t>
            </a:r>
            <a:r>
              <a:rPr lang="en-US" sz="1568" dirty="0">
                <a:gradFill>
                  <a:gsLst>
                    <a:gs pos="2917">
                      <a:schemeClr val="bg1"/>
                    </a:gs>
                    <a:gs pos="30000">
                      <a:schemeClr val="bg1"/>
                    </a:gs>
                  </a:gsLst>
                  <a:lin ang="5400000" scaled="0"/>
                </a:gradFill>
              </a:rPr>
              <a:t> (build)</a:t>
            </a:r>
          </a:p>
        </p:txBody>
      </p:sp>
      <p:grpSp>
        <p:nvGrpSpPr>
          <p:cNvPr id="7" name="Group 6"/>
          <p:cNvGrpSpPr/>
          <p:nvPr/>
        </p:nvGrpSpPr>
        <p:grpSpPr>
          <a:xfrm>
            <a:off x="623601" y="3781170"/>
            <a:ext cx="3791989" cy="933561"/>
            <a:chOff x="2586855" y="3572201"/>
            <a:chExt cx="1904563" cy="952281"/>
          </a:xfrm>
        </p:grpSpPr>
        <p:sp>
          <p:nvSpPr>
            <p:cNvPr id="44" name="Rounded Rectangle 43"/>
            <p:cNvSpPr/>
            <p:nvPr/>
          </p:nvSpPr>
          <p:spPr>
            <a:xfrm>
              <a:off x="2586855" y="3572201"/>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Rounded Rectangle 10"/>
            <p:cNvSpPr/>
            <p:nvPr/>
          </p:nvSpPr>
          <p:spPr>
            <a:xfrm>
              <a:off x="2614746" y="3600092"/>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People, Process, Biz Value, </a:t>
              </a:r>
              <a:br>
                <a:rPr lang="en-US" sz="1568" dirty="0">
                  <a:gradFill>
                    <a:gsLst>
                      <a:gs pos="2917">
                        <a:schemeClr val="bg1"/>
                      </a:gs>
                      <a:gs pos="30000">
                        <a:schemeClr val="bg1"/>
                      </a:gs>
                    </a:gsLst>
                    <a:lin ang="5400000" scaled="0"/>
                  </a:gradFill>
                </a:rPr>
              </a:br>
              <a:r>
                <a:rPr lang="en-US" sz="1568" dirty="0">
                  <a:gradFill>
                    <a:gsLst>
                      <a:gs pos="2917">
                        <a:schemeClr val="bg1"/>
                      </a:gs>
                      <a:gs pos="30000">
                        <a:schemeClr val="bg1"/>
                      </a:gs>
                    </a:gsLst>
                    <a:lin ang="5400000" scaled="0"/>
                  </a:gradFill>
                </a:rPr>
                <a:t>SDLC, methodologies, etc.</a:t>
              </a:r>
            </a:p>
          </p:txBody>
        </p:sp>
      </p:grpSp>
      <p:grpSp>
        <p:nvGrpSpPr>
          <p:cNvPr id="9" name="Group 8"/>
          <p:cNvGrpSpPr/>
          <p:nvPr/>
        </p:nvGrpSpPr>
        <p:grpSpPr>
          <a:xfrm>
            <a:off x="5162438" y="2707574"/>
            <a:ext cx="2877524" cy="933561"/>
            <a:chOff x="5253244" y="2477077"/>
            <a:chExt cx="1904563" cy="952281"/>
          </a:xfrm>
        </p:grpSpPr>
        <p:sp>
          <p:nvSpPr>
            <p:cNvPr id="40" name="Rounded Rectangle 39"/>
            <p:cNvSpPr/>
            <p:nvPr/>
          </p:nvSpPr>
          <p:spPr>
            <a:xfrm>
              <a:off x="5253244" y="2477077"/>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1" name="Rounded Rectangle 14"/>
            <p:cNvSpPr/>
            <p:nvPr/>
          </p:nvSpPr>
          <p:spPr>
            <a:xfrm>
              <a:off x="5281135" y="2504968"/>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Infrastructure as Code</a:t>
              </a:r>
            </a:p>
          </p:txBody>
        </p:sp>
      </p:grpSp>
      <p:grpSp>
        <p:nvGrpSpPr>
          <p:cNvPr id="15" name="Group 14"/>
          <p:cNvGrpSpPr/>
          <p:nvPr/>
        </p:nvGrpSpPr>
        <p:grpSpPr>
          <a:xfrm>
            <a:off x="5162438" y="4854766"/>
            <a:ext cx="2877524" cy="933561"/>
            <a:chOff x="5253244" y="4667325"/>
            <a:chExt cx="1904563" cy="952281"/>
          </a:xfrm>
        </p:grpSpPr>
        <p:sp>
          <p:nvSpPr>
            <p:cNvPr id="28" name="Rounded Rectangle 27"/>
            <p:cNvSpPr/>
            <p:nvPr/>
          </p:nvSpPr>
          <p:spPr>
            <a:xfrm>
              <a:off x="5253244" y="4667325"/>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ounded Rectangle 26"/>
            <p:cNvSpPr/>
            <p:nvPr/>
          </p:nvSpPr>
          <p:spPr>
            <a:xfrm>
              <a:off x="5281135" y="4695216"/>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Continuous Integration</a:t>
              </a:r>
            </a:p>
          </p:txBody>
        </p:sp>
      </p:grpSp>
    </p:spTree>
    <p:extLst>
      <p:ext uri="{BB962C8B-B14F-4D97-AF65-F5344CB8AC3E}">
        <p14:creationId xmlns:p14="http://schemas.microsoft.com/office/powerpoint/2010/main" val="929441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95103-0D34-4DCC-90AB-FB08A2C0D6BE}"/>
              </a:ext>
            </a:extLst>
          </p:cNvPr>
          <p:cNvSpPr>
            <a:spLocks noGrp="1"/>
          </p:cNvSpPr>
          <p:nvPr>
            <p:ph type="title"/>
          </p:nvPr>
        </p:nvSpPr>
        <p:spPr/>
        <p:txBody>
          <a:bodyPr/>
          <a:lstStyle/>
          <a:p>
            <a:r>
              <a:rPr lang="en-US" dirty="0"/>
              <a:t>Systems Value of DevOps</a:t>
            </a:r>
          </a:p>
        </p:txBody>
      </p:sp>
      <p:sp>
        <p:nvSpPr>
          <p:cNvPr id="6" name="Content Placeholder 5">
            <a:extLst>
              <a:ext uri="{FF2B5EF4-FFF2-40B4-BE49-F238E27FC236}">
                <a16:creationId xmlns:a16="http://schemas.microsoft.com/office/drawing/2014/main" id="{E8952BC1-CCBD-45A0-B015-D17561FC544A}"/>
              </a:ext>
            </a:extLst>
          </p:cNvPr>
          <p:cNvSpPr>
            <a:spLocks noGrp="1"/>
          </p:cNvSpPr>
          <p:nvPr>
            <p:ph idx="1"/>
          </p:nvPr>
        </p:nvSpPr>
        <p:spPr/>
        <p:txBody>
          <a:bodyPr/>
          <a:lstStyle/>
          <a:p>
            <a:r>
              <a:rPr lang="en-US" dirty="0"/>
              <a:t>Highly Scalable</a:t>
            </a:r>
          </a:p>
          <a:p>
            <a:r>
              <a:rPr lang="en-US" dirty="0"/>
              <a:t>Highly Resilient</a:t>
            </a:r>
          </a:p>
          <a:p>
            <a:r>
              <a:rPr lang="en-US" dirty="0"/>
              <a:t>Highly Performant </a:t>
            </a:r>
          </a:p>
          <a:p>
            <a:r>
              <a:rPr lang="en-US" dirty="0"/>
              <a:t>Right Sized</a:t>
            </a:r>
          </a:p>
          <a:p>
            <a:r>
              <a:rPr lang="en-US" dirty="0"/>
              <a:t>Fully Automated</a:t>
            </a:r>
          </a:p>
          <a:p>
            <a:r>
              <a:rPr lang="en-US" dirty="0"/>
              <a:t>CI/CD  - Continuous Integration/ Continuous Deployment</a:t>
            </a:r>
          </a:p>
          <a:p>
            <a:r>
              <a:rPr lang="en-US" dirty="0"/>
              <a:t>Much, Much More!!!</a:t>
            </a:r>
          </a:p>
          <a:p>
            <a:endParaRPr lang="en-US" dirty="0"/>
          </a:p>
        </p:txBody>
      </p:sp>
    </p:spTree>
    <p:extLst>
      <p:ext uri="{BB962C8B-B14F-4D97-AF65-F5344CB8AC3E}">
        <p14:creationId xmlns:p14="http://schemas.microsoft.com/office/powerpoint/2010/main" val="3114714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46</TotalTime>
  <Words>5523</Words>
  <Application>Microsoft Office PowerPoint</Application>
  <PresentationFormat>Widescreen</PresentationFormat>
  <Paragraphs>520</Paragraphs>
  <Slides>32</Slides>
  <Notes>32</Notes>
  <HiddenSlides>2</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9" baseType="lpstr">
      <vt:lpstr>MS PGothic</vt:lpstr>
      <vt:lpstr>SimSun</vt:lpstr>
      <vt:lpstr>游ゴシック</vt:lpstr>
      <vt:lpstr>游ゴシック Light</vt:lpstr>
      <vt:lpstr>Arial</vt:lpstr>
      <vt:lpstr>Arial Narrow</vt:lpstr>
      <vt:lpstr>Calibri</vt:lpstr>
      <vt:lpstr>Calibri Light</vt:lpstr>
      <vt:lpstr>Segoe UI</vt:lpstr>
      <vt:lpstr>Segoe UI Light</vt:lpstr>
      <vt:lpstr>Segoe UI Semibold</vt:lpstr>
      <vt:lpstr>Segoe UI Semilight</vt:lpstr>
      <vt:lpstr>Times New Roman</vt:lpstr>
      <vt:lpstr>Trebuchet MS</vt:lpstr>
      <vt:lpstr>Wingdings</vt:lpstr>
      <vt:lpstr>Office Theme</vt:lpstr>
      <vt:lpstr>think-cell Slide</vt:lpstr>
      <vt:lpstr>Exam Jump Start 70-535 Architecting Microsoft Azure Solutions DevOps and Next Steps </vt:lpstr>
      <vt:lpstr>Architect Defined</vt:lpstr>
      <vt:lpstr>2016 CIO Priorities &amp; Challenges</vt:lpstr>
      <vt:lpstr>Translate Business Objectives Into Actions</vt:lpstr>
      <vt:lpstr>DevOps is the union of people, process, and tools  to enable continuous delivery of value of our end uses. </vt:lpstr>
      <vt:lpstr>Culture Change &amp; Digital Transformation</vt:lpstr>
      <vt:lpstr>DevOps Practices</vt:lpstr>
      <vt:lpstr>DevOps Frame</vt:lpstr>
      <vt:lpstr>Systems Value of DevOps</vt:lpstr>
      <vt:lpstr>Before DevOps</vt:lpstr>
      <vt:lpstr>After  DevOps</vt:lpstr>
      <vt:lpstr>Release Cycle 18 months  4 weeks Hotfix 6 week  Same Day Investment  3 weeks</vt:lpstr>
      <vt:lpstr>Role of Security in DevOps aka DevSecOps</vt:lpstr>
      <vt:lpstr>Roles and Responsibilities</vt:lpstr>
      <vt:lpstr>Tip: Must Read Book </vt:lpstr>
      <vt:lpstr>What is DevOps…</vt:lpstr>
      <vt:lpstr>Traditional vs modern dev-ops</vt:lpstr>
      <vt:lpstr>Containerization</vt:lpstr>
      <vt:lpstr>Cloud is a new way to think about a datacenter </vt:lpstr>
      <vt:lpstr>DevOps Journey</vt:lpstr>
      <vt:lpstr>Kickstart Your DevOps Journey</vt:lpstr>
      <vt:lpstr>Post Hack </vt:lpstr>
      <vt:lpstr>End of Event Brainstorming</vt:lpstr>
      <vt:lpstr>Brainstorming:  AHA Moments</vt:lpstr>
      <vt:lpstr>Brainstorming: Scale and Offshore Collaboration</vt:lpstr>
      <vt:lpstr>End of Event Report</vt:lpstr>
      <vt:lpstr>Tips, Tricks and Field Experiences </vt:lpstr>
      <vt:lpstr>Tips, Tricks and Field Experiences </vt:lpstr>
      <vt:lpstr>Questions… Answered at Events</vt:lpstr>
      <vt:lpstr>Event Notifications – Http://ITProGuru.com/join Example: Azure Certification Jump Start  70-534 Architecting Microsoft Azure Solutions </vt:lpstr>
      <vt:lpstr>PowerPoint Presentation</vt:lpstr>
      <vt:lpstr>More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ample: Azure Certification Jump Start 70-534 Architecting Microsoft Azure Solutions</dc:title>
  <dc:creator>Dan Stolts</dc:creator>
  <cp:lastModifiedBy>Dan Stolts</cp:lastModifiedBy>
  <cp:revision>29</cp:revision>
  <dcterms:created xsi:type="dcterms:W3CDTF">2016-02-03T15:43:24Z</dcterms:created>
  <dcterms:modified xsi:type="dcterms:W3CDTF">2018-01-18T17:5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10-19T07:33:43.254659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